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  <p:sldId id="1005" r:id="rId3"/>
    <p:sldId id="1006" r:id="rId4"/>
    <p:sldId id="1007" r:id="rId5"/>
    <p:sldId id="1008" r:id="rId6"/>
    <p:sldId id="1009" r:id="rId7"/>
    <p:sldId id="1010" r:id="rId8"/>
    <p:sldId id="1011" r:id="rId9"/>
    <p:sldId id="1012" r:id="rId10"/>
    <p:sldId id="1013" r:id="rId11"/>
    <p:sldId id="1014" r:id="rId12"/>
    <p:sldId id="1015" r:id="rId13"/>
    <p:sldId id="2113417998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18025" autoAdjust="0"/>
    <p:restoredTop sz="94660"/>
  </p:normalViewPr>
  <p:slideViewPr>
    <p:cSldViewPr snapToGrid="0">
      <p:cViewPr varScale="1">
        <p:scale>
          <a:sx n="77" d="100"/>
          <a:sy n="77" d="100"/>
        </p:scale>
        <p:origin x="84" y="2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microsoft.com/office/2007/relationships/hdphoto" Target="../media/hdphoto2.wdp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6" Type="http://schemas.openxmlformats.org/officeDocument/2006/relationships/image" Target="../media/image13.png"/><Relationship Id="rId5" Type="http://schemas.openxmlformats.org/officeDocument/2006/relationships/image" Target="../media/image12.jpg"/><Relationship Id="rId4" Type="http://schemas.openxmlformats.org/officeDocument/2006/relationships/image" Target="../media/image1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Source:</a:t>
            </a:r>
          </a:p>
          <a:p>
            <a:r>
              <a:rPr lang="en-US" dirty="0"/>
              <a:t>Notes: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4069DB7-BD92-42FC-963A-F010D7F460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608083"/>
            <a:ext cx="10962290" cy="456411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0643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9924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D97D4CC6-32AD-BCA7-E5DC-806815585B1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73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4071033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8604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3011536B-E5C4-A106-C81D-293D994FF16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1711724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3402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dark, lit&#10;&#10;Description automatically generated">
            <a:extLst>
              <a:ext uri="{FF2B5EF4-FFF2-40B4-BE49-F238E27FC236}">
                <a16:creationId xmlns:a16="http://schemas.microsoft.com/office/drawing/2014/main" id="{94B80643-DB53-93CF-0CC8-F5B0CC74C6E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7641978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5248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A41F8DC0-76D0-8840-4794-40095E1485F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1646013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251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A320BF0-2CB7-7307-F4DF-D200AD3CD99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01663391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084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4591F0AA-87FF-62FE-5D42-09693E23D32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1391015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6650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road, dark&#10;&#10;Description automatically generated">
            <a:extLst>
              <a:ext uri="{FF2B5EF4-FFF2-40B4-BE49-F238E27FC236}">
                <a16:creationId xmlns:a16="http://schemas.microsoft.com/office/drawing/2014/main" id="{8D58678D-5B64-3781-4493-30D95C9EDAB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3131846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0922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7268DF-0D1B-2D93-A94B-382F22D1D19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02541" y="2186099"/>
            <a:ext cx="1354138" cy="2730500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5400" b="1" kern="1200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1</a:t>
            </a:r>
          </a:p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2</a:t>
            </a:r>
          </a:p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3</a:t>
            </a:r>
            <a:endParaRPr lang="en-US" sz="1600" b="1" dirty="0">
              <a:solidFill>
                <a:srgbClr val="000B0B"/>
              </a:solidFill>
              <a:latin typeface="Avenir Next LT Pro" panose="020B0504020202020204" pitchFamily="34" charset="77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9591AD-199E-A70A-9360-68820C39D0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9681" y="2331426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CF9CE85-3705-01D7-81C8-A9AD367411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9681" y="3209931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82B5B75-0F34-37CE-E770-B421C085D2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09681" y="4094298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96ED341-6B69-D776-D498-64B4BD4F4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11587" y="1493698"/>
            <a:ext cx="10971942" cy="552450"/>
          </a:xfrm>
        </p:spPr>
        <p:txBody>
          <a:bodyPr>
            <a:noAutofit/>
          </a:bodyPr>
          <a:lstStyle>
            <a:lvl1pPr>
              <a:defRPr sz="2200" b="1"/>
            </a:lvl1pPr>
            <a:lvl5pPr marL="682625" indent="0">
              <a:buNone/>
              <a:defRPr/>
            </a:lvl5pPr>
          </a:lstStyle>
          <a:p>
            <a:pPr lvl="0"/>
            <a:r>
              <a:rPr lang="en-US" dirty="0"/>
              <a:t>For Our Discussion Today</a:t>
            </a:r>
          </a:p>
        </p:txBody>
      </p:sp>
    </p:spTree>
    <p:extLst>
      <p:ext uri="{BB962C8B-B14F-4D97-AF65-F5344CB8AC3E}">
        <p14:creationId xmlns:p14="http://schemas.microsoft.com/office/powerpoint/2010/main" val="30530501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dark blue bkgd">
    <p:bg>
      <p:bgPr>
        <a:solidFill>
          <a:srgbClr val="071E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34281986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blue b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16362073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Source:</a:t>
            </a:r>
          </a:p>
          <a:p>
            <a:r>
              <a:rPr lang="en-US" dirty="0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26532710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light blue bkg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30356254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492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BA45A60-5D16-E41D-32DF-B6C18EDF4E3C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2005873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396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52A3CD-9F27-5AE1-225C-3361E5B5BB61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30693927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0299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pic>
        <p:nvPicPr>
          <p:cNvPr id="10" name="Picture 9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46FC3E1-FCFE-4BFC-896E-BE93A86F066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400942"/>
            <a:ext cx="616252" cy="26251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7BF1FFD-372D-1C59-527C-57A4B18E07F8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008197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022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9" name="Picture 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E76424F-251D-91B3-502B-FFA88D29D54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396759"/>
            <a:ext cx="616252" cy="2625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C5A66D-ACCA-FCA5-BB7A-6090A9490304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7710571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018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8839200" y="3"/>
            <a:ext cx="3352800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343697" y="1608083"/>
            <a:ext cx="2238704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730469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ase Study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396759"/>
            <a:ext cx="620111" cy="26251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3EBAC9E-9340-B35E-11EE-6AB60D024A56}"/>
              </a:ext>
            </a:extLst>
          </p:cNvPr>
          <p:cNvSpPr txBox="1"/>
          <p:nvPr/>
        </p:nvSpPr>
        <p:spPr>
          <a:xfrm>
            <a:off x="11267590" y="6447969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66CF8F-5A50-7E72-6C38-E2CAFD8EE8C3}"/>
              </a:ext>
            </a:extLst>
          </p:cNvPr>
          <p:cNvSpPr txBox="1"/>
          <p:nvPr/>
        </p:nvSpPr>
        <p:spPr>
          <a:xfrm>
            <a:off x="620110" y="6709205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90922945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Lin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63B4488-ABDD-4FE0-B4A8-4B0BBB24EC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63B4488-ABDD-4FE0-B4A8-4B0BBB24EC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auto">
          <a:xfrm>
            <a:off x="0" y="1121735"/>
            <a:ext cx="12192000" cy="5376471"/>
          </a:xfrm>
          <a:prstGeom prst="rect">
            <a:avLst/>
          </a:prstGeom>
          <a:solidFill>
            <a:srgbClr val="F8F8F8"/>
          </a:solidFill>
          <a:ln>
            <a:noFill/>
          </a:ln>
          <a:effectLst/>
        </p:spPr>
        <p:txBody>
          <a:bodyPr lIns="0" tIns="0" rIns="0" bIns="0" rtlCol="0" anchor="ctr"/>
          <a:lstStyle/>
          <a:p>
            <a:pPr algn="ctr"/>
            <a:endParaRPr lang="en-US" sz="1100">
              <a:solidFill>
                <a:schemeClr val="tx1">
                  <a:lumMod val="75000"/>
                  <a:lumOff val="25000"/>
                </a:schemeClr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5248" b="40943"/>
          <a:stretch/>
        </p:blipFill>
        <p:spPr>
          <a:xfrm>
            <a:off x="0" y="0"/>
            <a:ext cx="12192000" cy="1121735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 bwMode="auto">
          <a:xfrm>
            <a:off x="0" y="0"/>
            <a:ext cx="12192000" cy="1121735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</p:spPr>
        <p:txBody>
          <a:bodyPr lIns="0" tIns="0" rIns="0" bIns="0" rtlCol="0" anchor="ctr"/>
          <a:lstStyle/>
          <a:p>
            <a:pPr algn="ctr"/>
            <a:endParaRPr lang="en-US" sz="1100">
              <a:solidFill>
                <a:schemeClr val="tx1">
                  <a:lumMod val="75000"/>
                  <a:lumOff val="25000"/>
                </a:schemeClr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0" y="1121735"/>
            <a:ext cx="12192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64"/>
          <p:cNvSpPr>
            <a:spLocks noGrp="1"/>
          </p:cNvSpPr>
          <p:nvPr>
            <p:ph type="title" hasCustomPrompt="1"/>
          </p:nvPr>
        </p:nvSpPr>
        <p:spPr>
          <a:xfrm>
            <a:off x="1087696" y="324643"/>
            <a:ext cx="10647104" cy="495486"/>
          </a:xfrm>
          <a:prstGeom prst="rect">
            <a:avLst/>
          </a:prstGeom>
        </p:spPr>
        <p:txBody>
          <a:bodyPr anchor="ctr"/>
          <a:lstStyle>
            <a:lvl1pPr algn="l">
              <a:defRPr sz="2400" b="1" i="0" baseline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ONE LINE HEADER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618" y="297712"/>
            <a:ext cx="404783" cy="5493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35556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24">
          <p15:clr>
            <a:srgbClr val="FBAE40"/>
          </p15:clr>
        </p15:guide>
        <p15:guide id="2" pos="3840">
          <p15:clr>
            <a:srgbClr val="FBAE40"/>
          </p15:clr>
        </p15:guide>
        <p15:guide id="3" pos="672">
          <p15:clr>
            <a:srgbClr val="FBAE40"/>
          </p15:clr>
        </p15:guide>
        <p15:guide id="5" orient="horz" pos="720">
          <p15:clr>
            <a:srgbClr val="FBAE40"/>
          </p15:clr>
        </p15:guide>
        <p15:guide id="6" orient="horz" pos="3888">
          <p15:clr>
            <a:srgbClr val="FBAE40"/>
          </p15:clr>
        </p15:guide>
        <p15:guide id="7" orient="horz" pos="144">
          <p15:clr>
            <a:srgbClr val="FBAE40"/>
          </p15:clr>
        </p15:guide>
        <p15:guide id="8" orient="horz" pos="912">
          <p15:clr>
            <a:srgbClr val="FBAE40"/>
          </p15:clr>
        </p15:guide>
        <p15:guide id="9" pos="3792">
          <p15:clr>
            <a:srgbClr val="FBAE40"/>
          </p15:clr>
        </p15:guide>
        <p15:guide id="10" pos="3888">
          <p15:clr>
            <a:srgbClr val="FBAE40"/>
          </p15:clr>
        </p15:guide>
        <p15:guide id="11" orient="horz" pos="2376">
          <p15:clr>
            <a:srgbClr val="FBAE40"/>
          </p15:clr>
        </p15:guide>
        <p15:guide id="12" orient="horz" pos="247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&amp;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599" y="1681163"/>
            <a:ext cx="7315199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7315199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11563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48D1AD9-A85C-CC9C-2379-A294B91BF4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2157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8541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5182129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CF7D59-AB3D-3F5F-F8BE-608E38ACA2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40027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734B5B5-E169-82B3-4823-63269CF0A0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40027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58835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3D2EAEA-4A1A-4BD0-AAA4-E823F3352FA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455562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F1A95F98-B444-45B3-B26F-E3A566F5AD2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455562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48473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anel small text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3045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0110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110" y="2510632"/>
            <a:ext cx="2564585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178CED2-08EF-4CF6-A179-4392DD35144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3386316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CB1AC188-4440-4EA7-A8C4-FD8FE5FF5D07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38631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A1EBFA0-4A27-4371-8AF1-C2D421D12632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9007306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78971224-A4C3-4B38-8487-E75903A9B75C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900730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F7C2B96-4B20-46A3-A648-DB8B6AEDC023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6235423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0E5215DC-8B13-45E7-AC26-B09A437B5B6E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6241099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06571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5029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9" name="Group 78">
            <a:extLst>
              <a:ext uri="{FF2B5EF4-FFF2-40B4-BE49-F238E27FC236}">
                <a16:creationId xmlns:a16="http://schemas.microsoft.com/office/drawing/2014/main" id="{B328026A-8319-44BC-B6B3-8D0A2B5E39A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AB780836-0EA1-4764-9C48-1217D0B297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06E5C381-914B-47AA-AE2B-28A2392478C7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B0DBDE80-DF7D-4696-AE00-4FF472F4B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EDAEE8C0-239A-4F5F-A01A-65BD5D44AA1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A4E68502-6F50-4E7B-AF1B-50A9EB649BDA}"/>
                </a:ext>
              </a:extLst>
            </p:cNvPr>
            <p:cNvSpPr>
              <a:spLocks/>
            </p:cNvSpPr>
            <p:nvPr/>
          </p:nvSpPr>
          <p:spPr bwMode="gray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0B294D58-DE2D-4091-BE0A-48E0C4BB11EB}"/>
                </a:ext>
              </a:extLst>
            </p:cNvPr>
            <p:cNvSpPr>
              <a:spLocks/>
            </p:cNvSpPr>
            <p:nvPr/>
          </p:nvSpPr>
          <p:spPr bwMode="gray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0326E64D-04ED-4ABB-93E4-447EB91A43C8}"/>
                </a:ext>
              </a:extLst>
            </p:cNvPr>
            <p:cNvSpPr>
              <a:spLocks/>
            </p:cNvSpPr>
            <p:nvPr/>
          </p:nvSpPr>
          <p:spPr bwMode="gray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B424A6A0-9FD6-41E0-A6B5-44DACE49A6D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0B3F0C38-DC97-4CD1-984E-7572735440B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6350261F-44E5-4C95-AA87-2DB3FC7643F6}"/>
                </a:ext>
              </a:extLst>
            </p:cNvPr>
            <p:cNvSpPr>
              <a:spLocks/>
            </p:cNvSpPr>
            <p:nvPr/>
          </p:nvSpPr>
          <p:spPr bwMode="gray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5AB7FC7D-55F6-4FAD-8462-71A4B975343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Rectangle 17">
              <a:extLst>
                <a:ext uri="{FF2B5EF4-FFF2-40B4-BE49-F238E27FC236}">
                  <a16:creationId xmlns:a16="http://schemas.microsoft.com/office/drawing/2014/main" id="{4BDA452B-8283-4B2A-A8D4-25BB7CF8BAA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804988" y="438150"/>
              <a:ext cx="11113" cy="619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57C01BEE-E1C7-4682-8761-33473C67DB6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6ADD09EB-6CBD-4B56-B289-F1F1B730C703}"/>
                </a:ext>
              </a:extLst>
            </p:cNvPr>
            <p:cNvSpPr>
              <a:spLocks/>
            </p:cNvSpPr>
            <p:nvPr/>
          </p:nvSpPr>
          <p:spPr bwMode="gray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0">
              <a:extLst>
                <a:ext uri="{FF2B5EF4-FFF2-40B4-BE49-F238E27FC236}">
                  <a16:creationId xmlns:a16="http://schemas.microsoft.com/office/drawing/2014/main" id="{A7F46E3E-21DB-440A-836C-161975F9644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05C7460C-2718-41A8-B766-0DB3ABA769E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2">
              <a:extLst>
                <a:ext uri="{FF2B5EF4-FFF2-40B4-BE49-F238E27FC236}">
                  <a16:creationId xmlns:a16="http://schemas.microsoft.com/office/drawing/2014/main" id="{2383DB17-5CC3-49DC-A0C6-BE7B8C2DC75A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Rectangle 23">
              <a:extLst>
                <a:ext uri="{FF2B5EF4-FFF2-40B4-BE49-F238E27FC236}">
                  <a16:creationId xmlns:a16="http://schemas.microsoft.com/office/drawing/2014/main" id="{8F9BA604-1770-430B-A304-132F8EA6926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8501" y="-96838"/>
              <a:ext cx="88900" cy="422275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4">
              <a:extLst>
                <a:ext uri="{FF2B5EF4-FFF2-40B4-BE49-F238E27FC236}">
                  <a16:creationId xmlns:a16="http://schemas.microsoft.com/office/drawing/2014/main" id="{9CA311BE-EAED-478B-98A4-BF498FEC0E8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5">
              <a:extLst>
                <a:ext uri="{FF2B5EF4-FFF2-40B4-BE49-F238E27FC236}">
                  <a16:creationId xmlns:a16="http://schemas.microsoft.com/office/drawing/2014/main" id="{3B0E85FD-D0E6-43B5-9382-FF5952C2CFF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6">
              <a:extLst>
                <a:ext uri="{FF2B5EF4-FFF2-40B4-BE49-F238E27FC236}">
                  <a16:creationId xmlns:a16="http://schemas.microsoft.com/office/drawing/2014/main" id="{5FB98D20-7032-4D26-B1F1-7EA34F0B31E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7">
              <a:extLst>
                <a:ext uri="{FF2B5EF4-FFF2-40B4-BE49-F238E27FC236}">
                  <a16:creationId xmlns:a16="http://schemas.microsoft.com/office/drawing/2014/main" id="{2E699044-1520-4F88-8A17-6CF62388039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8">
              <a:extLst>
                <a:ext uri="{FF2B5EF4-FFF2-40B4-BE49-F238E27FC236}">
                  <a16:creationId xmlns:a16="http://schemas.microsoft.com/office/drawing/2014/main" id="{70DF0DD4-928C-48C0-BC35-CF6EED8953B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9">
              <a:extLst>
                <a:ext uri="{FF2B5EF4-FFF2-40B4-BE49-F238E27FC236}">
                  <a16:creationId xmlns:a16="http://schemas.microsoft.com/office/drawing/2014/main" id="{B1B76DE3-C2A7-4A83-B953-1F33FCA64D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0">
              <a:extLst>
                <a:ext uri="{FF2B5EF4-FFF2-40B4-BE49-F238E27FC236}">
                  <a16:creationId xmlns:a16="http://schemas.microsoft.com/office/drawing/2014/main" id="{F7EEDA81-C08A-4DC4-8FF5-D29833551A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1">
              <a:extLst>
                <a:ext uri="{FF2B5EF4-FFF2-40B4-BE49-F238E27FC236}">
                  <a16:creationId xmlns:a16="http://schemas.microsoft.com/office/drawing/2014/main" id="{74011A3E-5D81-44C1-81C8-0E9C3D1613F8}"/>
                </a:ext>
              </a:extLst>
            </p:cNvPr>
            <p:cNvSpPr>
              <a:spLocks/>
            </p:cNvSpPr>
            <p:nvPr/>
          </p:nvSpPr>
          <p:spPr bwMode="gray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32">
              <a:extLst>
                <a:ext uri="{FF2B5EF4-FFF2-40B4-BE49-F238E27FC236}">
                  <a16:creationId xmlns:a16="http://schemas.microsoft.com/office/drawing/2014/main" id="{B85124B3-6C21-4594-A9A6-59A2C470C1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19451" y="-31750"/>
              <a:ext cx="17463" cy="1127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3">
              <a:extLst>
                <a:ext uri="{FF2B5EF4-FFF2-40B4-BE49-F238E27FC236}">
                  <a16:creationId xmlns:a16="http://schemas.microsoft.com/office/drawing/2014/main" id="{0C47C8D2-EDBD-422C-BAD0-54C40A72FBD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4">
              <a:extLst>
                <a:ext uri="{FF2B5EF4-FFF2-40B4-BE49-F238E27FC236}">
                  <a16:creationId xmlns:a16="http://schemas.microsoft.com/office/drawing/2014/main" id="{A40CB4FE-CD15-4C2F-9494-477D01BCD6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5">
              <a:extLst>
                <a:ext uri="{FF2B5EF4-FFF2-40B4-BE49-F238E27FC236}">
                  <a16:creationId xmlns:a16="http://schemas.microsoft.com/office/drawing/2014/main" id="{8578F2B6-A484-465A-8C41-7F0832C6D5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6">
              <a:extLst>
                <a:ext uri="{FF2B5EF4-FFF2-40B4-BE49-F238E27FC236}">
                  <a16:creationId xmlns:a16="http://schemas.microsoft.com/office/drawing/2014/main" id="{BA0B863B-99FA-4614-A890-EF612AA0C0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37">
              <a:extLst>
                <a:ext uri="{FF2B5EF4-FFF2-40B4-BE49-F238E27FC236}">
                  <a16:creationId xmlns:a16="http://schemas.microsoft.com/office/drawing/2014/main" id="{8BF3FDF6-9666-4930-96E4-BC4E609DB24D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38">
              <a:extLst>
                <a:ext uri="{FF2B5EF4-FFF2-40B4-BE49-F238E27FC236}">
                  <a16:creationId xmlns:a16="http://schemas.microsoft.com/office/drawing/2014/main" id="{097DB741-0174-4445-ACF0-2E111BD1044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9">
              <a:extLst>
                <a:ext uri="{FF2B5EF4-FFF2-40B4-BE49-F238E27FC236}">
                  <a16:creationId xmlns:a16="http://schemas.microsoft.com/office/drawing/2014/main" id="{5339DFA6-7C0F-49F2-B455-8F6C2763AFB1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0">
              <a:extLst>
                <a:ext uri="{FF2B5EF4-FFF2-40B4-BE49-F238E27FC236}">
                  <a16:creationId xmlns:a16="http://schemas.microsoft.com/office/drawing/2014/main" id="{0EB02563-F1E0-4B91-8A08-45117DF2EC9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1">
              <a:extLst>
                <a:ext uri="{FF2B5EF4-FFF2-40B4-BE49-F238E27FC236}">
                  <a16:creationId xmlns:a16="http://schemas.microsoft.com/office/drawing/2014/main" id="{906C1324-2438-4CB8-B14E-FFDF0537B3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Rectangle 42">
              <a:extLst>
                <a:ext uri="{FF2B5EF4-FFF2-40B4-BE49-F238E27FC236}">
                  <a16:creationId xmlns:a16="http://schemas.microsoft.com/office/drawing/2014/main" id="{BEAF57B2-015F-40B8-AF84-515E59FF7B1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97163" y="153988"/>
              <a:ext cx="15875" cy="115888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3">
              <a:extLst>
                <a:ext uri="{FF2B5EF4-FFF2-40B4-BE49-F238E27FC236}">
                  <a16:creationId xmlns:a16="http://schemas.microsoft.com/office/drawing/2014/main" id="{CF6638C6-5E94-43FF-B8CB-2E4C6C8975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4">
              <a:extLst>
                <a:ext uri="{FF2B5EF4-FFF2-40B4-BE49-F238E27FC236}">
                  <a16:creationId xmlns:a16="http://schemas.microsoft.com/office/drawing/2014/main" id="{E43F4615-1DA6-4F95-A77B-12A91752972F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45">
              <a:extLst>
                <a:ext uri="{FF2B5EF4-FFF2-40B4-BE49-F238E27FC236}">
                  <a16:creationId xmlns:a16="http://schemas.microsoft.com/office/drawing/2014/main" id="{A31BF1F7-BE07-47E9-94AB-5CCD46FF8A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46">
              <a:extLst>
                <a:ext uri="{FF2B5EF4-FFF2-40B4-BE49-F238E27FC236}">
                  <a16:creationId xmlns:a16="http://schemas.microsoft.com/office/drawing/2014/main" id="{3A22ADA2-4714-4C31-B6E5-7A6DE6B2A6E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47">
              <a:extLst>
                <a:ext uri="{FF2B5EF4-FFF2-40B4-BE49-F238E27FC236}">
                  <a16:creationId xmlns:a16="http://schemas.microsoft.com/office/drawing/2014/main" id="{C31B1364-FEB4-4067-808C-3AB6A9DBEC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8">
              <a:extLst>
                <a:ext uri="{FF2B5EF4-FFF2-40B4-BE49-F238E27FC236}">
                  <a16:creationId xmlns:a16="http://schemas.microsoft.com/office/drawing/2014/main" id="{0058F51C-6920-4633-BD74-B7B7F911541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9">
              <a:extLst>
                <a:ext uri="{FF2B5EF4-FFF2-40B4-BE49-F238E27FC236}">
                  <a16:creationId xmlns:a16="http://schemas.microsoft.com/office/drawing/2014/main" id="{0E426658-42CE-4CFA-9C79-3A40251C8A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0">
              <a:extLst>
                <a:ext uri="{FF2B5EF4-FFF2-40B4-BE49-F238E27FC236}">
                  <a16:creationId xmlns:a16="http://schemas.microsoft.com/office/drawing/2014/main" id="{8B1D0F47-BA80-466B-890A-7AFAA099276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1">
              <a:extLst>
                <a:ext uri="{FF2B5EF4-FFF2-40B4-BE49-F238E27FC236}">
                  <a16:creationId xmlns:a16="http://schemas.microsoft.com/office/drawing/2014/main" id="{9CC49CFE-C30A-45D7-9150-7EE856DA7C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2">
              <a:extLst>
                <a:ext uri="{FF2B5EF4-FFF2-40B4-BE49-F238E27FC236}">
                  <a16:creationId xmlns:a16="http://schemas.microsoft.com/office/drawing/2014/main" id="{A40FE52E-7390-4224-981F-5B9B6DC75BAE}"/>
                </a:ext>
              </a:extLst>
            </p:cNvPr>
            <p:cNvSpPr>
              <a:spLocks/>
            </p:cNvSpPr>
            <p:nvPr/>
          </p:nvSpPr>
          <p:spPr bwMode="gray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53">
              <a:extLst>
                <a:ext uri="{FF2B5EF4-FFF2-40B4-BE49-F238E27FC236}">
                  <a16:creationId xmlns:a16="http://schemas.microsoft.com/office/drawing/2014/main" id="{225F0FE3-9380-41E3-A971-A1DC24E451B0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54">
              <a:extLst>
                <a:ext uri="{FF2B5EF4-FFF2-40B4-BE49-F238E27FC236}">
                  <a16:creationId xmlns:a16="http://schemas.microsoft.com/office/drawing/2014/main" id="{6AA00411-4F40-4847-97A9-4AB47DD95393}"/>
                </a:ext>
              </a:extLst>
            </p:cNvPr>
            <p:cNvSpPr>
              <a:spLocks/>
            </p:cNvSpPr>
            <p:nvPr/>
          </p:nvSpPr>
          <p:spPr bwMode="gray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55">
              <a:extLst>
                <a:ext uri="{FF2B5EF4-FFF2-40B4-BE49-F238E27FC236}">
                  <a16:creationId xmlns:a16="http://schemas.microsoft.com/office/drawing/2014/main" id="{5C5F2C34-52CC-46A3-8253-9C9F98D87E3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56">
              <a:extLst>
                <a:ext uri="{FF2B5EF4-FFF2-40B4-BE49-F238E27FC236}">
                  <a16:creationId xmlns:a16="http://schemas.microsoft.com/office/drawing/2014/main" id="{F3FA3044-1824-4008-9D96-843FADC68A8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57">
              <a:extLst>
                <a:ext uri="{FF2B5EF4-FFF2-40B4-BE49-F238E27FC236}">
                  <a16:creationId xmlns:a16="http://schemas.microsoft.com/office/drawing/2014/main" id="{741F03E7-CEFB-463E-B41D-FAFD19AFB47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58">
              <a:extLst>
                <a:ext uri="{FF2B5EF4-FFF2-40B4-BE49-F238E27FC236}">
                  <a16:creationId xmlns:a16="http://schemas.microsoft.com/office/drawing/2014/main" id="{72E0C9EC-4353-4470-9B5B-8020BB5248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9">
              <a:extLst>
                <a:ext uri="{FF2B5EF4-FFF2-40B4-BE49-F238E27FC236}">
                  <a16:creationId xmlns:a16="http://schemas.microsoft.com/office/drawing/2014/main" id="{98B83E80-EEA6-4BB3-ABCB-5F9325CBE13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60">
              <a:extLst>
                <a:ext uri="{FF2B5EF4-FFF2-40B4-BE49-F238E27FC236}">
                  <a16:creationId xmlns:a16="http://schemas.microsoft.com/office/drawing/2014/main" id="{FE827C06-4B96-4A16-AD13-91F144096E7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61">
              <a:extLst>
                <a:ext uri="{FF2B5EF4-FFF2-40B4-BE49-F238E27FC236}">
                  <a16:creationId xmlns:a16="http://schemas.microsoft.com/office/drawing/2014/main" id="{9F5B7148-53F2-4CC5-9B1B-56B74DF15CFB}"/>
                </a:ext>
              </a:extLst>
            </p:cNvPr>
            <p:cNvSpPr>
              <a:spLocks/>
            </p:cNvSpPr>
            <p:nvPr/>
          </p:nvSpPr>
          <p:spPr bwMode="gray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62">
              <a:extLst>
                <a:ext uri="{FF2B5EF4-FFF2-40B4-BE49-F238E27FC236}">
                  <a16:creationId xmlns:a16="http://schemas.microsoft.com/office/drawing/2014/main" id="{751FCF45-B390-4115-A636-DB10FDE1DE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63">
              <a:extLst>
                <a:ext uri="{FF2B5EF4-FFF2-40B4-BE49-F238E27FC236}">
                  <a16:creationId xmlns:a16="http://schemas.microsoft.com/office/drawing/2014/main" id="{9059B125-F3A2-430A-99C1-BCE86CFF5F3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271713" y="-269875"/>
              <a:ext cx="12700" cy="7731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Oval 64">
              <a:extLst>
                <a:ext uri="{FF2B5EF4-FFF2-40B4-BE49-F238E27FC236}">
                  <a16:creationId xmlns:a16="http://schemas.microsoft.com/office/drawing/2014/main" id="{0F2051E8-EAF8-4E49-9A02-D04863AFED3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1226" y="-279400"/>
              <a:ext cx="119063" cy="120650"/>
            </a:xfrm>
            <a:prstGeom prst="ellipse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Oval 65">
              <a:extLst>
                <a:ext uri="{FF2B5EF4-FFF2-40B4-BE49-F238E27FC236}">
                  <a16:creationId xmlns:a16="http://schemas.microsoft.com/office/drawing/2014/main" id="{F222E149-4D3D-46E7-8E15-1380BD4165D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52476" y="-269875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Oval 66">
              <a:extLst>
                <a:ext uri="{FF2B5EF4-FFF2-40B4-BE49-F238E27FC236}">
                  <a16:creationId xmlns:a16="http://schemas.microsoft.com/office/drawing/2014/main" id="{8F12F9D8-1C12-49B1-AEFE-9723C9E81AB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9163" y="-103188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Oval 67">
              <a:extLst>
                <a:ext uri="{FF2B5EF4-FFF2-40B4-BE49-F238E27FC236}">
                  <a16:creationId xmlns:a16="http://schemas.microsoft.com/office/drawing/2014/main" id="{BAA348BF-2B1E-456C-9685-C53DCA4B383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27101" y="53975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Oval 68">
              <a:extLst>
                <a:ext uri="{FF2B5EF4-FFF2-40B4-BE49-F238E27FC236}">
                  <a16:creationId xmlns:a16="http://schemas.microsoft.com/office/drawing/2014/main" id="{41A1F4EA-78D7-4C65-8430-31B1D585F0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60413" y="-95250"/>
              <a:ext cx="87313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Oval 69">
              <a:extLst>
                <a:ext uri="{FF2B5EF4-FFF2-40B4-BE49-F238E27FC236}">
                  <a16:creationId xmlns:a16="http://schemas.microsoft.com/office/drawing/2014/main" id="{421EBBA9-8C4F-4295-8553-30463683964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11188" y="-261938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0" name="Title 1">
            <a:extLst>
              <a:ext uri="{FF2B5EF4-FFF2-40B4-BE49-F238E27FC236}">
                <a16:creationId xmlns:a16="http://schemas.microsoft.com/office/drawing/2014/main" id="{99B2FAE0-6F28-0B07-ABC2-210010161C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1" name="Text Placeholder 81">
            <a:extLst>
              <a:ext uri="{FF2B5EF4-FFF2-40B4-BE49-F238E27FC236}">
                <a16:creationId xmlns:a16="http://schemas.microsoft.com/office/drawing/2014/main" id="{AABBBD46-2D94-9A1E-1B0B-4EA66A5B81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2" name="Subtitle 2">
            <a:extLst>
              <a:ext uri="{FF2B5EF4-FFF2-40B4-BE49-F238E27FC236}">
                <a16:creationId xmlns:a16="http://schemas.microsoft.com/office/drawing/2014/main" id="{AE1C7A48-0D13-1059-2A8B-9267721FA7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35FA29A0-C03A-3277-5EF6-1E67883CD46A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0926329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390018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dark blue bc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2CDAAB41-4F5B-0002-62E7-0314002034DE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542955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38E2F1A-B34E-D69C-A57E-330971B04075}"/>
              </a:ext>
            </a:extLst>
          </p:cNvPr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183109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410" imgH="409" progId="TCLayout.ActiveDocument.1">
                  <p:embed/>
                </p:oleObj>
              </mc:Choice>
              <mc:Fallback>
                <p:oleObj name="think-cell Slide" r:id="rId29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89C0743-AA73-0840-B62D-0DD113560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</p:spPr>
        <p:txBody>
          <a:bodyPr vert="horz" lIns="91440" tIns="0" rIns="91440" bIns="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B93CF6-2309-4345-AA1D-B104C260F8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8083"/>
            <a:ext cx="10962290" cy="45641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8CDE71-B946-DC7D-EEDB-2B57293F9294}"/>
              </a:ext>
            </a:extLst>
          </p:cNvPr>
          <p:cNvCxnSpPr>
            <a:cxnSpLocks/>
          </p:cNvCxnSpPr>
          <p:nvPr/>
        </p:nvCxnSpPr>
        <p:spPr>
          <a:xfrm>
            <a:off x="576393" y="-1905"/>
            <a:ext cx="0" cy="846841"/>
          </a:xfrm>
          <a:prstGeom prst="line">
            <a:avLst/>
          </a:prstGeom>
          <a:ln w="635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25AB39C8-5319-0E6E-2410-4700706DC186}"/>
              </a:ext>
            </a:extLst>
          </p:cNvPr>
          <p:cNvSpPr txBox="1"/>
          <p:nvPr/>
        </p:nvSpPr>
        <p:spPr>
          <a:xfrm>
            <a:off x="11267590" y="6447560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pic>
        <p:nvPicPr>
          <p:cNvPr id="33" name="Picture 32" descr="Logo&#10;&#10;Description automatically generated">
            <a:extLst>
              <a:ext uri="{FF2B5EF4-FFF2-40B4-BE49-F238E27FC236}">
                <a16:creationId xmlns:a16="http://schemas.microsoft.com/office/drawing/2014/main" id="{413FB830-EF07-2827-2E9A-C62AEEB66DF9}"/>
              </a:ext>
            </a:extLst>
          </p:cNvPr>
          <p:cNvPicPr>
            <a:picLocks noChangeAspect="1"/>
          </p:cNvPicPr>
          <p:nvPr/>
        </p:nvPicPr>
        <p:blipFill>
          <a:blip r:embed="rId3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E893C4-3B90-E1F1-32DC-B0057DB39E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i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Source:</a:t>
            </a:r>
          </a:p>
          <a:p>
            <a:r>
              <a:rPr lang="en-US" dirty="0"/>
              <a:t>Notes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2F644A6-12F2-3B17-6083-EE09484EBFF5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939428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717" r:id="rId2"/>
    <p:sldLayoutId id="2147483718" r:id="rId3"/>
    <p:sldLayoutId id="2147483691" r:id="rId4"/>
    <p:sldLayoutId id="2147483692" r:id="rId5"/>
    <p:sldLayoutId id="2147483716" r:id="rId6"/>
    <p:sldLayoutId id="2147483660" r:id="rId7"/>
    <p:sldLayoutId id="2147483675" r:id="rId8"/>
    <p:sldLayoutId id="2147483681" r:id="rId9"/>
    <p:sldLayoutId id="2147483726" r:id="rId10"/>
    <p:sldLayoutId id="2147483727" r:id="rId11"/>
    <p:sldLayoutId id="2147483723" r:id="rId12"/>
    <p:sldLayoutId id="2147483724" r:id="rId13"/>
    <p:sldLayoutId id="2147483725" r:id="rId14"/>
    <p:sldLayoutId id="2147483721" r:id="rId15"/>
    <p:sldLayoutId id="2147483722" r:id="rId16"/>
    <p:sldLayoutId id="2147483720" r:id="rId17"/>
    <p:sldLayoutId id="2147483683" r:id="rId18"/>
    <p:sldLayoutId id="2147483685" r:id="rId19"/>
    <p:sldLayoutId id="2147483684" r:id="rId20"/>
    <p:sldLayoutId id="2147483686" r:id="rId21"/>
    <p:sldLayoutId id="2147483714" r:id="rId22"/>
    <p:sldLayoutId id="2147483687" r:id="rId23"/>
    <p:sldLayoutId id="2147483715" r:id="rId24"/>
    <p:sldLayoutId id="2147483690" r:id="rId25"/>
    <p:sldLayoutId id="2147483728" r:id="rId26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317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61963" indent="-230188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82625" indent="-220663" algn="l" defTabSz="914400" rtl="0" eaLnBrk="1" latinLnBrk="0" hangingPunct="1">
        <a:lnSpc>
          <a:spcPct val="90000"/>
        </a:lnSpc>
        <a:spcBef>
          <a:spcPts val="500"/>
        </a:spcBef>
        <a:buFont typeface="Avenir Next LT Pro" panose="020B05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862013" indent="-1793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296">
          <p15:clr>
            <a:srgbClr val="F26B43"/>
          </p15:clr>
        </p15:guide>
        <p15:guide id="4" pos="384">
          <p15:clr>
            <a:srgbClr val="F26B43"/>
          </p15:clr>
        </p15:guide>
        <p15:guide id="5" orient="horz" pos="38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https://pro.sbigrowth.com/" TargetMode="External"/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emf"/><Relationship Id="rId15" Type="http://schemas.openxmlformats.org/officeDocument/2006/relationships/image" Target="../media/image24.png"/><Relationship Id="rId10" Type="http://schemas.openxmlformats.org/officeDocument/2006/relationships/image" Target="../media/image19.png"/><Relationship Id="rId4" Type="http://schemas.openxmlformats.org/officeDocument/2006/relationships/oleObject" Target="../embeddings/oleObject28.bin"/><Relationship Id="rId9" Type="http://schemas.openxmlformats.org/officeDocument/2006/relationships/image" Target="../media/image18.png"/><Relationship Id="rId14" Type="http://schemas.openxmlformats.org/officeDocument/2006/relationships/image" Target="../media/image23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64AD533-9D0F-BFA2-0C89-E314CEFAACA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ricing KPIs Tool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C7D9FDDA-53FB-EC05-6EFA-DF954BFD7C1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Common pricing metrics and calculations</a:t>
            </a:r>
          </a:p>
        </p:txBody>
      </p:sp>
    </p:spTree>
    <p:extLst>
      <p:ext uri="{BB962C8B-B14F-4D97-AF65-F5344CB8AC3E}">
        <p14:creationId xmlns:p14="http://schemas.microsoft.com/office/powerpoint/2010/main" val="34860703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stomer Churn</a:t>
            </a:r>
          </a:p>
        </p:txBody>
      </p:sp>
      <p:sp>
        <p:nvSpPr>
          <p:cNvPr id="4" name="Rounded Rectangle 3"/>
          <p:cNvSpPr/>
          <p:nvPr/>
        </p:nvSpPr>
        <p:spPr bwMode="auto">
          <a:xfrm>
            <a:off x="147299" y="1347018"/>
            <a:ext cx="11825626" cy="4977581"/>
          </a:xfrm>
          <a:prstGeom prst="roundRect">
            <a:avLst>
              <a:gd name="adj" fmla="val 1088"/>
            </a:avLst>
          </a:prstGeom>
          <a:solidFill>
            <a:schemeClr val="bg1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schemeClr val="accent6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272525">
                  <a:lumMod val="75000"/>
                  <a:lumOff val="25000"/>
                </a:srgbClr>
              </a:solidFill>
              <a:effectLst/>
              <a:uLnTx/>
              <a:uFillTx/>
              <a:latin typeface="Calibri Regular" charset="0"/>
              <a:ea typeface="Calibri Regular" charset="0"/>
              <a:cs typeface="Calibri Regular" charset="0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5EFA206C-A11E-4476-A935-5809680C69AE}"/>
              </a:ext>
            </a:extLst>
          </p:cNvPr>
          <p:cNvSpPr/>
          <p:nvPr/>
        </p:nvSpPr>
        <p:spPr>
          <a:xfrm>
            <a:off x="480289" y="1767385"/>
            <a:ext cx="3108960" cy="464024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efined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A173DC2E-B490-41D0-B58C-BC95167043DA}"/>
              </a:ext>
            </a:extLst>
          </p:cNvPr>
          <p:cNvSpPr/>
          <p:nvPr/>
        </p:nvSpPr>
        <p:spPr>
          <a:xfrm>
            <a:off x="4571546" y="1767385"/>
            <a:ext cx="3108960" cy="457200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Calculation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CEBF9840-F676-46D6-8BE6-0BBA7472A0A1}"/>
              </a:ext>
            </a:extLst>
          </p:cNvPr>
          <p:cNvSpPr/>
          <p:nvPr/>
        </p:nvSpPr>
        <p:spPr>
          <a:xfrm>
            <a:off x="8662803" y="1767385"/>
            <a:ext cx="3108960" cy="457200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Why Do I Care?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83C2551-C430-446F-B788-31042F801486}"/>
              </a:ext>
            </a:extLst>
          </p:cNvPr>
          <p:cNvSpPr/>
          <p:nvPr/>
        </p:nvSpPr>
        <p:spPr>
          <a:xfrm>
            <a:off x="480289" y="2511189"/>
            <a:ext cx="3108960" cy="2743200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aS churn is the percentage rate at which SaaS customers cancel their recurring revenue subscriptions.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72525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D0289E8-06AB-43F9-86E5-B236C00223E7}"/>
              </a:ext>
            </a:extLst>
          </p:cNvPr>
          <p:cNvSpPr/>
          <p:nvPr/>
        </p:nvSpPr>
        <p:spPr>
          <a:xfrm>
            <a:off x="8662803" y="2511189"/>
            <a:ext cx="3108960" cy="2743200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stomer churn reflects the percentage of customers who end their relationship with a company over a defined time period</a:t>
            </a: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urn is a critical input to:</a:t>
            </a:r>
          </a:p>
          <a:p>
            <a:pPr marL="742950" marR="0" lvl="1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TV calculations</a:t>
            </a:r>
          </a:p>
          <a:p>
            <a:pPr marL="742950" marR="0" lvl="1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venue, bookings, cash flow projection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30D9148-837D-4415-8E0E-6487D128C0EE}"/>
              </a:ext>
            </a:extLst>
          </p:cNvPr>
          <p:cNvSpPr/>
          <p:nvPr/>
        </p:nvSpPr>
        <p:spPr>
          <a:xfrm>
            <a:off x="4571546" y="2511189"/>
            <a:ext cx="3108960" cy="2743200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stomer Churn =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272525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stomer Subscriptions Cancelle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72525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# of Customers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X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lapsed tim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72525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272525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B937D09-5B34-4667-B9F4-653B29E8CE4C}"/>
              </a:ext>
            </a:extLst>
          </p:cNvPr>
          <p:cNvCxnSpPr>
            <a:cxnSpLocks/>
          </p:cNvCxnSpPr>
          <p:nvPr/>
        </p:nvCxnSpPr>
        <p:spPr>
          <a:xfrm>
            <a:off x="4937306" y="4022404"/>
            <a:ext cx="2377440" cy="0"/>
          </a:xfrm>
          <a:prstGeom prst="line">
            <a:avLst/>
          </a:prstGeom>
          <a:ln w="31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29181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ipeline Velocity</a:t>
            </a:r>
          </a:p>
        </p:txBody>
      </p:sp>
      <p:sp>
        <p:nvSpPr>
          <p:cNvPr id="4" name="Rounded Rectangle 3"/>
          <p:cNvSpPr/>
          <p:nvPr/>
        </p:nvSpPr>
        <p:spPr bwMode="auto">
          <a:xfrm>
            <a:off x="147299" y="1347018"/>
            <a:ext cx="11825626" cy="4977581"/>
          </a:xfrm>
          <a:prstGeom prst="roundRect">
            <a:avLst>
              <a:gd name="adj" fmla="val 1088"/>
            </a:avLst>
          </a:prstGeom>
          <a:solidFill>
            <a:schemeClr val="bg1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schemeClr val="accent6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272525">
                  <a:lumMod val="75000"/>
                  <a:lumOff val="25000"/>
                </a:srgbClr>
              </a:solidFill>
              <a:effectLst/>
              <a:uLnTx/>
              <a:uFillTx/>
              <a:latin typeface="Calibri Regular" charset="0"/>
              <a:ea typeface="Calibri Regular" charset="0"/>
              <a:cs typeface="Calibri Regular" charset="0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AD5C1E9A-2CB1-4D5A-94EA-274FABBEB815}"/>
              </a:ext>
            </a:extLst>
          </p:cNvPr>
          <p:cNvSpPr/>
          <p:nvPr/>
        </p:nvSpPr>
        <p:spPr>
          <a:xfrm>
            <a:off x="480289" y="1611430"/>
            <a:ext cx="3108960" cy="464024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efined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DBE763C0-D286-4A7C-8E71-6BA2105D8BBE}"/>
              </a:ext>
            </a:extLst>
          </p:cNvPr>
          <p:cNvSpPr/>
          <p:nvPr/>
        </p:nvSpPr>
        <p:spPr>
          <a:xfrm>
            <a:off x="4571546" y="1611430"/>
            <a:ext cx="3108960" cy="457200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Calculation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761B29BE-7E89-4BF2-9D46-C81DF5A12979}"/>
              </a:ext>
            </a:extLst>
          </p:cNvPr>
          <p:cNvSpPr/>
          <p:nvPr/>
        </p:nvSpPr>
        <p:spPr>
          <a:xfrm>
            <a:off x="8662803" y="1611430"/>
            <a:ext cx="3108960" cy="457200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Why Do I Care?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FC8569A-BDF1-4011-9ABE-DD6B75C27B8B}"/>
              </a:ext>
            </a:extLst>
          </p:cNvPr>
          <p:cNvSpPr/>
          <p:nvPr/>
        </p:nvSpPr>
        <p:spPr>
          <a:xfrm>
            <a:off x="480289" y="2355234"/>
            <a:ext cx="3108960" cy="3383280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ipeline velocity metric gives  predictability in sales results in present and future quarters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154C401-AD0B-45A3-8894-9CB76C180702}"/>
              </a:ext>
            </a:extLst>
          </p:cNvPr>
          <p:cNvSpPr/>
          <p:nvPr/>
        </p:nvSpPr>
        <p:spPr>
          <a:xfrm>
            <a:off x="8662803" y="2355234"/>
            <a:ext cx="3108960" cy="3383280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is number allows you to track the rate of change of your velocity (pipeline acceleration) and its high and low poin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ipeline velocity is an effective measure to track because it combines its inputs – MQLs, win rate, deal size, and sales into one number. This allows you to see if you’re increasing or decreasing your sales speed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EEF4606-B7E4-4642-99E0-E358017F74BE}"/>
              </a:ext>
            </a:extLst>
          </p:cNvPr>
          <p:cNvSpPr/>
          <p:nvPr/>
        </p:nvSpPr>
        <p:spPr>
          <a:xfrm>
            <a:off x="4571546" y="2355234"/>
            <a:ext cx="3108960" cy="3383280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ipeline Velocity =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272525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QLs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X 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n Rate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X 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al Siz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72525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ngth of Sales Cycl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72525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41DB116-A810-4063-A803-2E1DC387D75D}"/>
              </a:ext>
            </a:extLst>
          </p:cNvPr>
          <p:cNvCxnSpPr>
            <a:cxnSpLocks/>
          </p:cNvCxnSpPr>
          <p:nvPr/>
        </p:nvCxnSpPr>
        <p:spPr>
          <a:xfrm>
            <a:off x="4818434" y="4289359"/>
            <a:ext cx="2615184" cy="0"/>
          </a:xfrm>
          <a:prstGeom prst="line">
            <a:avLst/>
          </a:prstGeom>
          <a:ln w="31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84118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p Time to Productivity</a:t>
            </a:r>
          </a:p>
        </p:txBody>
      </p:sp>
      <p:sp>
        <p:nvSpPr>
          <p:cNvPr id="4" name="Rounded Rectangle 3"/>
          <p:cNvSpPr/>
          <p:nvPr/>
        </p:nvSpPr>
        <p:spPr bwMode="auto">
          <a:xfrm>
            <a:off x="147299" y="1347018"/>
            <a:ext cx="11825626" cy="4977581"/>
          </a:xfrm>
          <a:prstGeom prst="roundRect">
            <a:avLst>
              <a:gd name="adj" fmla="val 1088"/>
            </a:avLst>
          </a:prstGeom>
          <a:solidFill>
            <a:schemeClr val="bg1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schemeClr val="accent6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272525">
                  <a:lumMod val="75000"/>
                  <a:lumOff val="25000"/>
                </a:srgbClr>
              </a:solidFill>
              <a:effectLst/>
              <a:uLnTx/>
              <a:uFillTx/>
              <a:latin typeface="Calibri Regular" charset="0"/>
              <a:ea typeface="Calibri Regular" charset="0"/>
              <a:cs typeface="Calibri Regular" charset="0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EEE011E-4F1D-4D2B-9817-8F1AD9313571}"/>
              </a:ext>
            </a:extLst>
          </p:cNvPr>
          <p:cNvSpPr/>
          <p:nvPr/>
        </p:nvSpPr>
        <p:spPr>
          <a:xfrm>
            <a:off x="480289" y="1668580"/>
            <a:ext cx="3108960" cy="464024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efined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E2845C66-7B3C-4C34-ACF9-A5E9ADDA3838}"/>
              </a:ext>
            </a:extLst>
          </p:cNvPr>
          <p:cNvSpPr/>
          <p:nvPr/>
        </p:nvSpPr>
        <p:spPr>
          <a:xfrm>
            <a:off x="4571546" y="1668580"/>
            <a:ext cx="3108960" cy="457200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Calculation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957F8205-23BD-49DB-9062-1E63DD3CC517}"/>
              </a:ext>
            </a:extLst>
          </p:cNvPr>
          <p:cNvSpPr/>
          <p:nvPr/>
        </p:nvSpPr>
        <p:spPr>
          <a:xfrm>
            <a:off x="8662803" y="1668580"/>
            <a:ext cx="3108960" cy="457200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Why Do I Care?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DF04BB6-6386-4E6E-A6CE-A85502BB9917}"/>
              </a:ext>
            </a:extLst>
          </p:cNvPr>
          <p:cNvSpPr/>
          <p:nvPr/>
        </p:nvSpPr>
        <p:spPr>
          <a:xfrm>
            <a:off x="480289" y="2412384"/>
            <a:ext cx="3108960" cy="3383280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is metric measures the length of time from when a rep is hired to when the rep starts to contribute bookings to MRR against his/her goal.  This will inform the company the speed it needs to hire to achieve the company’s objectives.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72525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00B6EAF-6447-46B8-AC48-AC82DA5AB828}"/>
              </a:ext>
            </a:extLst>
          </p:cNvPr>
          <p:cNvSpPr/>
          <p:nvPr/>
        </p:nvSpPr>
        <p:spPr>
          <a:xfrm>
            <a:off x="8662803" y="2412384"/>
            <a:ext cx="3108960" cy="3383280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y routinely tracking and paying attention to time-to-productivity, you will be able to more accurately predict monthly, quarterly, and annual sal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C3ACC89-19BD-4A16-A040-BAD9544EDE17}"/>
              </a:ext>
            </a:extLst>
          </p:cNvPr>
          <p:cNvSpPr/>
          <p:nvPr/>
        </p:nvSpPr>
        <p:spPr>
          <a:xfrm>
            <a:off x="4571546" y="2412384"/>
            <a:ext cx="3108960" cy="3383280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me to Productivity =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272525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ngth of time to reach 100% bookings to MRR against goal.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72525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49371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A029C4-AA7E-9DBF-B56F-DDF0F04ECF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b="1"/>
              <a:t>Schedule a session with your advisor</a:t>
            </a:r>
          </a:p>
          <a:p>
            <a:r>
              <a:rPr lang="en-US"/>
              <a:t>SBI Advisors help clients with practical advice, whether strategic or surgically tactical, to drive revenue and growth. </a:t>
            </a:r>
          </a:p>
          <a:p>
            <a:r>
              <a:rPr lang="en-US"/>
              <a:t>Contact your advisor to schedule a work session and tune this guidance to your situation.</a:t>
            </a:r>
          </a:p>
          <a:p>
            <a:endParaRPr lang="en-US"/>
          </a:p>
          <a:p>
            <a:r>
              <a:rPr lang="en-US" b="1"/>
              <a:t>Login to SBI Pro:</a:t>
            </a:r>
          </a:p>
          <a:p>
            <a:r>
              <a:rPr lang="en-US">
                <a:hlinkClick r:id="rId2"/>
              </a:rPr>
              <a:t>https://pro.sbigrowth.com/</a:t>
            </a:r>
            <a:r>
              <a:rPr lang="en-US"/>
              <a:t>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879E6-97EC-6252-1E1E-52ED968CC8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For more resources like this, contact your advisor or visit SBI Pro.</a:t>
            </a:r>
          </a:p>
        </p:txBody>
      </p:sp>
    </p:spTree>
    <p:extLst>
      <p:ext uri="{BB962C8B-B14F-4D97-AF65-F5344CB8AC3E}">
        <p14:creationId xmlns:p14="http://schemas.microsoft.com/office/powerpoint/2010/main" val="12109552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151274C-8B35-4C90-B146-669795E682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2" progId="TCLayout.ActiveDocument.1">
                  <p:embed/>
                </p:oleObj>
              </mc:Choice>
              <mc:Fallback>
                <p:oleObj name="think-cell Slide" r:id="rId4" imgW="395" imgH="392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151274C-8B35-4C90-B146-669795E682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E2C6D3C-2D65-4BC1-980C-7575D78EEA77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schemeClr val="tx1">
                <a:alpha val="4000"/>
              </a:schemeClr>
            </a:outerShdw>
          </a:effectLst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ea typeface="Calibri Regular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" name="Rounded Rectangle 3"/>
          <p:cNvSpPr/>
          <p:nvPr/>
        </p:nvSpPr>
        <p:spPr bwMode="auto">
          <a:xfrm>
            <a:off x="147299" y="1246062"/>
            <a:ext cx="11825626" cy="5078537"/>
          </a:xfrm>
          <a:prstGeom prst="roundRect">
            <a:avLst>
              <a:gd name="adj" fmla="val 1088"/>
            </a:avLst>
          </a:prstGeom>
          <a:solidFill>
            <a:schemeClr val="bg1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schemeClr val="accent6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272525">
                  <a:lumMod val="75000"/>
                  <a:lumOff val="25000"/>
                </a:srgbClr>
              </a:solidFill>
              <a:effectLst/>
              <a:uLnTx/>
              <a:uFillTx/>
              <a:latin typeface="Calibri Regular" charset="0"/>
              <a:ea typeface="Calibri Regular" charset="0"/>
              <a:cs typeface="Calibri Regular" charset="0"/>
            </a:endParaRPr>
          </a:p>
        </p:txBody>
      </p:sp>
      <p:graphicFrame>
        <p:nvGraphicFramePr>
          <p:cNvPr id="38" name="Table 37">
            <a:extLst>
              <a:ext uri="{FF2B5EF4-FFF2-40B4-BE49-F238E27FC236}">
                <a16:creationId xmlns:a16="http://schemas.microsoft.com/office/drawing/2014/main" id="{848FF534-D31F-4A21-A69A-78C5C7BDA4E8}"/>
              </a:ext>
            </a:extLst>
          </p:cNvPr>
          <p:cNvGraphicFramePr>
            <a:graphicFrameLocks noGrp="1"/>
          </p:cNvGraphicFramePr>
          <p:nvPr/>
        </p:nvGraphicFramePr>
        <p:xfrm>
          <a:off x="378501" y="1249915"/>
          <a:ext cx="11480750" cy="499436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296150">
                  <a:extLst>
                    <a:ext uri="{9D8B030D-6E8A-4147-A177-3AD203B41FA5}">
                      <a16:colId xmlns:a16="http://schemas.microsoft.com/office/drawing/2014/main" val="2713491618"/>
                    </a:ext>
                  </a:extLst>
                </a:gridCol>
                <a:gridCol w="2296150">
                  <a:extLst>
                    <a:ext uri="{9D8B030D-6E8A-4147-A177-3AD203B41FA5}">
                      <a16:colId xmlns:a16="http://schemas.microsoft.com/office/drawing/2014/main" val="122275216"/>
                    </a:ext>
                  </a:extLst>
                </a:gridCol>
                <a:gridCol w="2249149">
                  <a:extLst>
                    <a:ext uri="{9D8B030D-6E8A-4147-A177-3AD203B41FA5}">
                      <a16:colId xmlns:a16="http://schemas.microsoft.com/office/drawing/2014/main" val="2983578888"/>
                    </a:ext>
                  </a:extLst>
                </a:gridCol>
                <a:gridCol w="2362200">
                  <a:extLst>
                    <a:ext uri="{9D8B030D-6E8A-4147-A177-3AD203B41FA5}">
                      <a16:colId xmlns:a16="http://schemas.microsoft.com/office/drawing/2014/main" val="1330305408"/>
                    </a:ext>
                  </a:extLst>
                </a:gridCol>
                <a:gridCol w="2277101">
                  <a:extLst>
                    <a:ext uri="{9D8B030D-6E8A-4147-A177-3AD203B41FA5}">
                      <a16:colId xmlns:a16="http://schemas.microsoft.com/office/drawing/2014/main" val="3011079036"/>
                    </a:ext>
                  </a:extLst>
                </a:gridCol>
              </a:tblGrid>
              <a:tr h="2457351">
                <a:tc>
                  <a:txBody>
                    <a:bodyPr/>
                    <a:lstStyle/>
                    <a:p>
                      <a:endParaRPr lang="en-US" dirty="0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accent1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accent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accent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accent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accent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5846261"/>
                  </a:ext>
                </a:extLst>
              </a:tr>
              <a:tr h="2537011">
                <a:tc>
                  <a:txBody>
                    <a:bodyPr/>
                    <a:lstStyle/>
                    <a:p>
                      <a:endParaRPr lang="en-US" dirty="0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accent1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accent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accent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accent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accent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6533650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mmon Pricing </a:t>
            </a:r>
            <a:r>
              <a:rPr lang="en-US" dirty="0"/>
              <a:t>Metric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852FEB7-DD6B-4763-B34A-49B649CBBB32}"/>
              </a:ext>
            </a:extLst>
          </p:cNvPr>
          <p:cNvSpPr txBox="1"/>
          <p:nvPr/>
        </p:nvSpPr>
        <p:spPr>
          <a:xfrm>
            <a:off x="409246" y="3695700"/>
            <a:ext cx="22387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7252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ookings/Head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54632FB-D9F7-4EF5-9966-E4D82F4961C0}"/>
              </a:ext>
            </a:extLst>
          </p:cNvPr>
          <p:cNvSpPr txBox="1"/>
          <p:nvPr/>
        </p:nvSpPr>
        <p:spPr>
          <a:xfrm>
            <a:off x="2680466" y="3695700"/>
            <a:ext cx="22098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7252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gic Numbe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0B43410-211E-4128-9583-569761E6963F}"/>
              </a:ext>
            </a:extLst>
          </p:cNvPr>
          <p:cNvSpPr txBox="1"/>
          <p:nvPr/>
        </p:nvSpPr>
        <p:spPr>
          <a:xfrm>
            <a:off x="4950906" y="3695700"/>
            <a:ext cx="22098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7252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stomer Chur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42701C3-884E-49C8-979D-8812D0164092}"/>
              </a:ext>
            </a:extLst>
          </p:cNvPr>
          <p:cNvSpPr txBox="1"/>
          <p:nvPr/>
        </p:nvSpPr>
        <p:spPr>
          <a:xfrm>
            <a:off x="380671" y="2361456"/>
            <a:ext cx="2238704" cy="132343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7252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mitted Monthly Recurring Revenue:  CMRR looks at current MRR, (New Business + Expansion – Contraction – Churn), then adds in signed contracts going into production and subtracts out revenue that’s likely to churn within that period.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7D44DB0-D5E9-40C5-8D84-E7FEE8A7BE7B}"/>
              </a:ext>
            </a:extLst>
          </p:cNvPr>
          <p:cNvSpPr txBox="1"/>
          <p:nvPr/>
        </p:nvSpPr>
        <p:spPr>
          <a:xfrm>
            <a:off x="4904718" y="2900064"/>
            <a:ext cx="2238704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625905F-0937-4D65-BD51-F07C2D789A6F}"/>
              </a:ext>
            </a:extLst>
          </p:cNvPr>
          <p:cNvSpPr txBox="1"/>
          <p:nvPr/>
        </p:nvSpPr>
        <p:spPr>
          <a:xfrm>
            <a:off x="7172325" y="2926340"/>
            <a:ext cx="2238704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901E577-6C38-4472-976A-D81DE0412E2F}"/>
              </a:ext>
            </a:extLst>
          </p:cNvPr>
          <p:cNvSpPr txBox="1"/>
          <p:nvPr/>
        </p:nvSpPr>
        <p:spPr>
          <a:xfrm>
            <a:off x="7134225" y="3695700"/>
            <a:ext cx="22965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7252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ipeline Velocit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7739698-1A2D-41B3-AAA8-E45B5F39F000}"/>
              </a:ext>
            </a:extLst>
          </p:cNvPr>
          <p:cNvSpPr txBox="1"/>
          <p:nvPr/>
        </p:nvSpPr>
        <p:spPr>
          <a:xfrm>
            <a:off x="7243598" y="5046077"/>
            <a:ext cx="2238704" cy="129266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7252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ipeline velocity metric gives  predictability in sales results in present and future quarter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27252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ample Formula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27252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ualified Ops = 1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27252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ose Rate 25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27252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vg. Deal Size = $100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27252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ngth of Sales Cycle = 60 Day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27252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10 x 25% x $100k) / 60 = </a:t>
            </a:r>
            <a:r>
              <a:rPr kumimoji="0" lang="en-US" sz="800" b="1" i="1" u="none" strike="noStrike" kern="1200" cap="none" spc="0" normalizeH="0" baseline="0" noProof="0" dirty="0">
                <a:ln>
                  <a:noFill/>
                </a:ln>
                <a:solidFill>
                  <a:srgbClr val="27252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.166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B9C9A5D-3F3F-4441-B22C-8D18D3B6CF90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552558" y="4169211"/>
            <a:ext cx="1373134" cy="78378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828CE73-8743-4B63-8B34-402BAB0400DD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94834" y="1615457"/>
            <a:ext cx="1014941" cy="745999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38DB7E94-2431-46E1-A78B-6CE51CEF8670}"/>
              </a:ext>
            </a:extLst>
          </p:cNvPr>
          <p:cNvSpPr txBox="1"/>
          <p:nvPr/>
        </p:nvSpPr>
        <p:spPr>
          <a:xfrm>
            <a:off x="2700173" y="5042593"/>
            <a:ext cx="2238704" cy="116955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7252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magic number of 1 means that last quarter's sales &amp; marketing spend will be "earned" back over the next 4 quarters in incremental revenue, and is seen as the desired metric for SaaS businesses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4F35F74-08B4-4ED8-956B-74F2932B4D68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prstClr val="black"/>
              <a:schemeClr val="accent1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2790825" y="4172660"/>
            <a:ext cx="2099442" cy="619125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58209BB3-3315-4AC5-A769-242F0725DD4A}"/>
              </a:ext>
            </a:extLst>
          </p:cNvPr>
          <p:cNvSpPr txBox="1"/>
          <p:nvPr/>
        </p:nvSpPr>
        <p:spPr>
          <a:xfrm>
            <a:off x="9686596" y="4925706"/>
            <a:ext cx="2267608" cy="132343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7252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is metric measures the length of time from when a rep is hired to when the rep starts to contribute bookings to MRR against his/her goal.  This will inform the company the speed it needs to hire to achieve the company’s objectives. 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905ADC8-6921-45EC-8AB4-6C9C0E140F36}"/>
              </a:ext>
            </a:extLst>
          </p:cNvPr>
          <p:cNvSpPr txBox="1"/>
          <p:nvPr/>
        </p:nvSpPr>
        <p:spPr>
          <a:xfrm>
            <a:off x="9684504" y="2849394"/>
            <a:ext cx="2238704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7252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number of discount points per margin percentag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DBC85AA-8D2E-4FBF-8449-8B4764361B1C}"/>
              </a:ext>
            </a:extLst>
          </p:cNvPr>
          <p:cNvSpPr txBox="1"/>
          <p:nvPr/>
        </p:nvSpPr>
        <p:spPr>
          <a:xfrm>
            <a:off x="2721194" y="2333837"/>
            <a:ext cx="2229712" cy="132343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7252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stomer Acquisition Costs.  This is comprised of all  Go-to-Market costs, including Product, Marketing and Sales that are focused on new customer acquisition.  This can be rendered at the customer and unit/user level.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2F1755D-CC32-44D0-8E7E-E37514C5BD9D}"/>
              </a:ext>
            </a:extLst>
          </p:cNvPr>
          <p:cNvSpPr txBox="1"/>
          <p:nvPr/>
        </p:nvSpPr>
        <p:spPr>
          <a:xfrm>
            <a:off x="4935173" y="2447482"/>
            <a:ext cx="2229712" cy="116955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7252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stomer Lifetime Value.  The value of gross margin the customer will bring over the lifetime of the subscriber. This can be rendered at the customer and unit/user level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0CB3BF2-D9F8-4B8A-81EC-97C15C2825B1}"/>
              </a:ext>
            </a:extLst>
          </p:cNvPr>
          <p:cNvSpPr txBox="1"/>
          <p:nvPr/>
        </p:nvSpPr>
        <p:spPr>
          <a:xfrm>
            <a:off x="7262403" y="2755258"/>
            <a:ext cx="2229712" cy="5539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7252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is is the Lifetime Value of the Customer or User / Customer or User Acquisition Costs..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D9672AB-17CC-4C3F-90CF-8D8B533968BD}"/>
              </a:ext>
            </a:extLst>
          </p:cNvPr>
          <p:cNvSpPr txBox="1"/>
          <p:nvPr/>
        </p:nvSpPr>
        <p:spPr>
          <a:xfrm>
            <a:off x="285750" y="5334744"/>
            <a:ext cx="2324100" cy="101566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7252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bookings the company/division/channel is achieving against the weighted average headcount.  This will provide visibility to rep productivity &amp; effectiveness over time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FF8CD11-1C19-4AB9-9A98-FED8F1134EDE}"/>
              </a:ext>
            </a:extLst>
          </p:cNvPr>
          <p:cNvSpPr txBox="1"/>
          <p:nvPr/>
        </p:nvSpPr>
        <p:spPr>
          <a:xfrm>
            <a:off x="4962525" y="5247229"/>
            <a:ext cx="2238704" cy="5539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7252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urn is the percentage rate at which SaaS customers cancel their recurring revenue subscriptions and renewals.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FAC0DF88-474B-4333-8A3B-5344437CBB9F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prstClr val="black"/>
              <a:schemeClr val="accent1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5588931" y="4135823"/>
            <a:ext cx="985891" cy="942396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D9C74859-C294-4606-B728-DD78AA4965A7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0346525" y="4115963"/>
            <a:ext cx="880256" cy="880256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7B79A0FF-FF36-4349-85AD-A02177E97E28}"/>
              </a:ext>
            </a:extLst>
          </p:cNvPr>
          <p:cNvPicPr>
            <a:picLocks noChangeAspect="1"/>
          </p:cNvPicPr>
          <p:nvPr/>
        </p:nvPicPr>
        <p:blipFill>
          <a:blip r:embed="rId11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240059" y="1644536"/>
            <a:ext cx="1090613" cy="540368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C0501069-7B66-40EF-8F11-5D7F1CCDA38F}"/>
              </a:ext>
            </a:extLst>
          </p:cNvPr>
          <p:cNvPicPr>
            <a:picLocks noChangeAspect="1"/>
          </p:cNvPicPr>
          <p:nvPr/>
        </p:nvPicPr>
        <p:blipFill>
          <a:blip r:embed="rId12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567075" y="1617161"/>
            <a:ext cx="903313" cy="790078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EEDC24C5-FE8D-4286-85C7-E95C5507F64D}"/>
              </a:ext>
            </a:extLst>
          </p:cNvPr>
          <p:cNvPicPr>
            <a:picLocks noChangeAspect="1"/>
          </p:cNvPicPr>
          <p:nvPr/>
        </p:nvPicPr>
        <p:blipFill>
          <a:blip r:embed="rId13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439025" y="1692711"/>
            <a:ext cx="1600199" cy="785474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9D5DFF1B-B057-4B4B-9E5E-9E3D047B0832}"/>
              </a:ext>
            </a:extLst>
          </p:cNvPr>
          <p:cNvPicPr>
            <a:picLocks noChangeAspect="1"/>
          </p:cNvPicPr>
          <p:nvPr/>
        </p:nvPicPr>
        <p:blipFill>
          <a:blip r:embed="rId1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0276024" y="1610950"/>
            <a:ext cx="1162050" cy="930668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0BC2DB37-68C7-4060-9F09-28FD22DE9CA0}"/>
              </a:ext>
            </a:extLst>
          </p:cNvPr>
          <p:cNvPicPr>
            <a:picLocks noChangeAspect="1"/>
          </p:cNvPicPr>
          <p:nvPr/>
        </p:nvPicPr>
        <p:blipFill>
          <a:blip r:embed="rId1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091128" y="4141347"/>
            <a:ext cx="733425" cy="1104900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F0BFE1C5-3D0F-4965-92DA-841942E42BB4}"/>
              </a:ext>
            </a:extLst>
          </p:cNvPr>
          <p:cNvSpPr txBox="1"/>
          <p:nvPr/>
        </p:nvSpPr>
        <p:spPr>
          <a:xfrm>
            <a:off x="380671" y="1249915"/>
            <a:ext cx="22098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7252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MRR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D42AAE1-3BD1-4F27-A146-DE1AE67FA53C}"/>
              </a:ext>
            </a:extLst>
          </p:cNvPr>
          <p:cNvSpPr txBox="1"/>
          <p:nvPr/>
        </p:nvSpPr>
        <p:spPr>
          <a:xfrm>
            <a:off x="2685722" y="1249915"/>
            <a:ext cx="22098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7252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C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8C8703F-02C1-405A-8EB0-EEB76141EE75}"/>
              </a:ext>
            </a:extLst>
          </p:cNvPr>
          <p:cNvSpPr txBox="1"/>
          <p:nvPr/>
        </p:nvSpPr>
        <p:spPr>
          <a:xfrm>
            <a:off x="4940396" y="1249915"/>
            <a:ext cx="22098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7252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TV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3A96026-E705-4B98-A276-9B5BECE1C9BE}"/>
              </a:ext>
            </a:extLst>
          </p:cNvPr>
          <p:cNvSpPr txBox="1"/>
          <p:nvPr/>
        </p:nvSpPr>
        <p:spPr>
          <a:xfrm>
            <a:off x="7267247" y="1249915"/>
            <a:ext cx="22098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7252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TV:CAC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BB82DB3-735B-4B09-A423-1B496F3C82BB}"/>
              </a:ext>
            </a:extLst>
          </p:cNvPr>
          <p:cNvSpPr txBox="1"/>
          <p:nvPr/>
        </p:nvSpPr>
        <p:spPr>
          <a:xfrm>
            <a:off x="9652850" y="3726415"/>
            <a:ext cx="22921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7252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me to Productivity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357D62D-6C9B-42A7-87F5-0CF035D0AFBC}"/>
              </a:ext>
            </a:extLst>
          </p:cNvPr>
          <p:cNvSpPr txBox="1"/>
          <p:nvPr/>
        </p:nvSpPr>
        <p:spPr>
          <a:xfrm>
            <a:off x="9677072" y="1246062"/>
            <a:ext cx="22098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7252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scount:Margin</a:t>
            </a:r>
          </a:p>
        </p:txBody>
      </p:sp>
    </p:spTree>
    <p:extLst>
      <p:ext uri="{BB962C8B-B14F-4D97-AF65-F5344CB8AC3E}">
        <p14:creationId xmlns:p14="http://schemas.microsoft.com/office/powerpoint/2010/main" val="23070922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itted Monthly Recurring Revenue (CMRR)</a:t>
            </a:r>
          </a:p>
        </p:txBody>
      </p:sp>
      <p:sp>
        <p:nvSpPr>
          <p:cNvPr id="4" name="Rounded Rectangle 3"/>
          <p:cNvSpPr/>
          <p:nvPr/>
        </p:nvSpPr>
        <p:spPr bwMode="auto">
          <a:xfrm>
            <a:off x="147299" y="1347018"/>
            <a:ext cx="11825626" cy="4977581"/>
          </a:xfrm>
          <a:prstGeom prst="roundRect">
            <a:avLst>
              <a:gd name="adj" fmla="val 1088"/>
            </a:avLst>
          </a:prstGeom>
          <a:solidFill>
            <a:schemeClr val="bg1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schemeClr val="accent6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272525">
                  <a:lumMod val="75000"/>
                  <a:lumOff val="25000"/>
                </a:srgbClr>
              </a:solidFill>
              <a:effectLst/>
              <a:uLnTx/>
              <a:uFillTx/>
              <a:latin typeface="Calibri Regular" charset="0"/>
              <a:ea typeface="Calibri Regular" charset="0"/>
              <a:cs typeface="Calibri Regular" charset="0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0C059C4F-04A0-4536-B82D-459008DD1100}"/>
              </a:ext>
            </a:extLst>
          </p:cNvPr>
          <p:cNvSpPr/>
          <p:nvPr/>
        </p:nvSpPr>
        <p:spPr>
          <a:xfrm>
            <a:off x="480289" y="1782880"/>
            <a:ext cx="3108960" cy="464024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efined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0F754F54-AEEA-4037-90E0-9ABD685F7F2B}"/>
              </a:ext>
            </a:extLst>
          </p:cNvPr>
          <p:cNvSpPr/>
          <p:nvPr/>
        </p:nvSpPr>
        <p:spPr>
          <a:xfrm>
            <a:off x="4571546" y="1782880"/>
            <a:ext cx="3108960" cy="457200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Calculation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5D52E21F-87B3-4A43-9586-79BD49733F18}"/>
              </a:ext>
            </a:extLst>
          </p:cNvPr>
          <p:cNvSpPr/>
          <p:nvPr/>
        </p:nvSpPr>
        <p:spPr>
          <a:xfrm>
            <a:off x="8662803" y="1782880"/>
            <a:ext cx="3108960" cy="457200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Why Do I Care?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44FE25E-2399-44A2-A2C9-5463C8974D48}"/>
              </a:ext>
            </a:extLst>
          </p:cNvPr>
          <p:cNvSpPr/>
          <p:nvPr/>
        </p:nvSpPr>
        <p:spPr>
          <a:xfrm>
            <a:off x="480289" y="2526684"/>
            <a:ext cx="3108960" cy="2743200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MRR looks at current monthly recurring revenue (MRR), then adds in signed contracts going into production and subtracts revenue that’s likely to churn within that period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AB49E12-B8ED-4763-B690-C7CCD28FF0CC}"/>
              </a:ext>
            </a:extLst>
          </p:cNvPr>
          <p:cNvSpPr/>
          <p:nvPr/>
        </p:nvSpPr>
        <p:spPr>
          <a:xfrm>
            <a:off x="4571546" y="2526684"/>
            <a:ext cx="3108960" cy="2743200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CMRR =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72525">
                  <a:lumMod val="75000"/>
                  <a:lumOff val="25000"/>
                </a:srgbClr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xisting MRR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 New Signed Bookings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–  Downgraded Booking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–  Chur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88A0BBE-D621-4724-ADB7-2F64EF59E85E}"/>
              </a:ext>
            </a:extLst>
          </p:cNvPr>
          <p:cNvSpPr/>
          <p:nvPr/>
        </p:nvSpPr>
        <p:spPr>
          <a:xfrm>
            <a:off x="8662803" y="2526684"/>
            <a:ext cx="3108960" cy="2743200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MRR measures the net inflow and outflow of subscriptio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curring revenue is vital for renewals, subscriptions, and discount governance, you need to know if CMRR is trending positively</a:t>
            </a: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ply reporting new bookings can be misleading if churn is hurting subscription revenue</a:t>
            </a:r>
          </a:p>
        </p:txBody>
      </p:sp>
    </p:spTree>
    <p:extLst>
      <p:ext uri="{BB962C8B-B14F-4D97-AF65-F5344CB8AC3E}">
        <p14:creationId xmlns:p14="http://schemas.microsoft.com/office/powerpoint/2010/main" val="3224377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stomer Acquisition Cost (CAC)</a:t>
            </a:r>
          </a:p>
        </p:txBody>
      </p:sp>
      <p:sp>
        <p:nvSpPr>
          <p:cNvPr id="4" name="Rounded Rectangle 3"/>
          <p:cNvSpPr/>
          <p:nvPr/>
        </p:nvSpPr>
        <p:spPr bwMode="auto">
          <a:xfrm>
            <a:off x="147299" y="1347018"/>
            <a:ext cx="11825626" cy="4977581"/>
          </a:xfrm>
          <a:prstGeom prst="roundRect">
            <a:avLst>
              <a:gd name="adj" fmla="val 1088"/>
            </a:avLst>
          </a:prstGeom>
          <a:solidFill>
            <a:schemeClr val="bg1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schemeClr val="accent6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272525">
                  <a:lumMod val="75000"/>
                  <a:lumOff val="25000"/>
                </a:srgbClr>
              </a:solidFill>
              <a:effectLst/>
              <a:uLnTx/>
              <a:uFillTx/>
              <a:latin typeface="Calibri Regular" charset="0"/>
              <a:ea typeface="Calibri Regular" charset="0"/>
              <a:cs typeface="Calibri Regular" charset="0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F89EA621-B389-404D-AEE0-F1DCC2B445CD}"/>
              </a:ext>
            </a:extLst>
          </p:cNvPr>
          <p:cNvSpPr/>
          <p:nvPr/>
        </p:nvSpPr>
        <p:spPr>
          <a:xfrm>
            <a:off x="480289" y="1792405"/>
            <a:ext cx="3108960" cy="464024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efined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D5E177FB-19C5-40B7-9251-48604348A12A}"/>
              </a:ext>
            </a:extLst>
          </p:cNvPr>
          <p:cNvSpPr/>
          <p:nvPr/>
        </p:nvSpPr>
        <p:spPr>
          <a:xfrm>
            <a:off x="4571546" y="1792405"/>
            <a:ext cx="3108960" cy="457200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Calculation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BB7C0301-1FCF-44D2-A693-D4E4831D89A9}"/>
              </a:ext>
            </a:extLst>
          </p:cNvPr>
          <p:cNvSpPr/>
          <p:nvPr/>
        </p:nvSpPr>
        <p:spPr>
          <a:xfrm>
            <a:off x="8662803" y="1792405"/>
            <a:ext cx="3108960" cy="457200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Why Do I Care?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D39217E-9EDC-4CC5-A9C9-661C57C48CD0}"/>
              </a:ext>
            </a:extLst>
          </p:cNvPr>
          <p:cNvSpPr/>
          <p:nvPr/>
        </p:nvSpPr>
        <p:spPr>
          <a:xfrm>
            <a:off x="480289" y="2536209"/>
            <a:ext cx="3108960" cy="2743200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is is comprised of all  Go-to-Market costs, including Product, Marketing and Sales that are focused on new customer acquisition.  This can be rendered at the customer and unit/user level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72525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B066B56-417B-4AA4-9333-436D73CA51AB}"/>
              </a:ext>
            </a:extLst>
          </p:cNvPr>
          <p:cNvSpPr/>
          <p:nvPr/>
        </p:nvSpPr>
        <p:spPr>
          <a:xfrm>
            <a:off x="4571546" y="2536209"/>
            <a:ext cx="3108960" cy="2743200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C =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72525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tal Sales and Marketing Expens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72525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w Customers Acquired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33A27E6-5FEE-41D5-8018-C2B8443D9861}"/>
              </a:ext>
            </a:extLst>
          </p:cNvPr>
          <p:cNvSpPr/>
          <p:nvPr/>
        </p:nvSpPr>
        <p:spPr>
          <a:xfrm>
            <a:off x="8662803" y="2536209"/>
            <a:ext cx="3108960" cy="2743200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derstanding CAC is a crucial for SaaS organizations, because revenue models are dependent on the customer lifetime value</a:t>
            </a: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realize ROI, you need to know how many months of revenue from a customer are needed to recover the CAC and begin profiting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E04EC9B-B755-470F-9AC6-A6DA2E11D98E}"/>
              </a:ext>
            </a:extLst>
          </p:cNvPr>
          <p:cNvCxnSpPr>
            <a:cxnSpLocks/>
          </p:cNvCxnSpPr>
          <p:nvPr/>
        </p:nvCxnSpPr>
        <p:spPr>
          <a:xfrm>
            <a:off x="4906826" y="4113464"/>
            <a:ext cx="2377440" cy="0"/>
          </a:xfrm>
          <a:prstGeom prst="line">
            <a:avLst/>
          </a:prstGeom>
          <a:ln w="31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906147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stomer Lifetime Value (CLTV)</a:t>
            </a:r>
          </a:p>
        </p:txBody>
      </p:sp>
      <p:sp>
        <p:nvSpPr>
          <p:cNvPr id="4" name="Rounded Rectangle 3"/>
          <p:cNvSpPr/>
          <p:nvPr/>
        </p:nvSpPr>
        <p:spPr bwMode="auto">
          <a:xfrm>
            <a:off x="147299" y="1347018"/>
            <a:ext cx="11825626" cy="4977581"/>
          </a:xfrm>
          <a:prstGeom prst="roundRect">
            <a:avLst>
              <a:gd name="adj" fmla="val 1088"/>
            </a:avLst>
          </a:prstGeom>
          <a:solidFill>
            <a:schemeClr val="bg1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schemeClr val="accent6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272525">
                  <a:lumMod val="75000"/>
                  <a:lumOff val="25000"/>
                </a:srgbClr>
              </a:solidFill>
              <a:effectLst/>
              <a:uLnTx/>
              <a:uFillTx/>
              <a:latin typeface="Calibri Regular" charset="0"/>
              <a:ea typeface="Calibri Regular" charset="0"/>
              <a:cs typeface="Calibri Regular" charset="0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72B00063-A5D2-4B24-8A7B-ACA287D34451}"/>
              </a:ext>
            </a:extLst>
          </p:cNvPr>
          <p:cNvSpPr/>
          <p:nvPr/>
        </p:nvSpPr>
        <p:spPr>
          <a:xfrm>
            <a:off x="480289" y="1754305"/>
            <a:ext cx="3108960" cy="464024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efined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488D1146-447A-4E74-85AA-8FE94E48D6FE}"/>
              </a:ext>
            </a:extLst>
          </p:cNvPr>
          <p:cNvSpPr/>
          <p:nvPr/>
        </p:nvSpPr>
        <p:spPr>
          <a:xfrm>
            <a:off x="4571546" y="1754305"/>
            <a:ext cx="3108960" cy="457200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Calculation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F862F411-A72A-403D-AAF3-86B37A7D780F}"/>
              </a:ext>
            </a:extLst>
          </p:cNvPr>
          <p:cNvSpPr/>
          <p:nvPr/>
        </p:nvSpPr>
        <p:spPr>
          <a:xfrm>
            <a:off x="8662803" y="1754305"/>
            <a:ext cx="3108960" cy="457200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Why Do I Care?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F921318-709E-40BA-B0DB-DA7EA62AF7F6}"/>
              </a:ext>
            </a:extLst>
          </p:cNvPr>
          <p:cNvSpPr/>
          <p:nvPr/>
        </p:nvSpPr>
        <p:spPr>
          <a:xfrm>
            <a:off x="480289" y="2498109"/>
            <a:ext cx="3108960" cy="2834640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TV is the value of gross margin the customer will bring over the lifetime of the subscriber. This can be rendered at the customer and unit/user level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41EBC81-B8CA-4ADA-BF4C-AACD1F93C8CE}"/>
              </a:ext>
            </a:extLst>
          </p:cNvPr>
          <p:cNvSpPr/>
          <p:nvPr/>
        </p:nvSpPr>
        <p:spPr>
          <a:xfrm>
            <a:off x="4571546" y="2498109"/>
            <a:ext cx="3108960" cy="2834640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TV =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1 + </a:t>
            </a:r>
            <a:r>
              <a:rPr kumimoji="0" lang="en-US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1 + </a:t>
            </a:r>
            <a:r>
              <a:rPr kumimoji="0" lang="en-US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– RR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72525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: Annual Profi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Discount rat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R: Retention rat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: One-time acquisition/retention cos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1ED400E-1F0F-4B64-848E-B8495D171721}"/>
              </a:ext>
            </a:extLst>
          </p:cNvPr>
          <p:cNvSpPr/>
          <p:nvPr/>
        </p:nvSpPr>
        <p:spPr>
          <a:xfrm>
            <a:off x="8662803" y="2498109"/>
            <a:ext cx="3108960" cy="2834640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TV is critical to understanding optimal spend on customer acquisition. It can determine value of the organization based on increasing the customer base</a:t>
            </a: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TV also shows the cost of churn, and justifies additional spend to decrease churn by showing the impact on customer valu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556086C-AD62-4660-BFC0-CC0555932F8F}"/>
              </a:ext>
            </a:extLst>
          </p:cNvPr>
          <p:cNvCxnSpPr>
            <a:cxnSpLocks/>
          </p:cNvCxnSpPr>
          <p:nvPr/>
        </p:nvCxnSpPr>
        <p:spPr>
          <a:xfrm>
            <a:off x="5541453" y="3733099"/>
            <a:ext cx="1109094" cy="0"/>
          </a:xfrm>
          <a:prstGeom prst="line">
            <a:avLst/>
          </a:prstGeom>
          <a:ln w="31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AB45C51-9CAC-4ADD-ACB8-2D5A07966295}"/>
              </a:ext>
            </a:extLst>
          </p:cNvPr>
          <p:cNvSpPr txBox="1"/>
          <p:nvPr/>
        </p:nvSpPr>
        <p:spPr>
          <a:xfrm>
            <a:off x="4930997" y="3545567"/>
            <a:ext cx="6104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7252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  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7252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X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27DADAA-9945-4544-8080-C9909A748101}"/>
              </a:ext>
            </a:extLst>
          </p:cNvPr>
          <p:cNvSpPr txBox="1"/>
          <p:nvPr/>
        </p:nvSpPr>
        <p:spPr>
          <a:xfrm>
            <a:off x="6650547" y="3545568"/>
            <a:ext cx="6409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–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AC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191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TV:CAC Ratio</a:t>
            </a:r>
          </a:p>
        </p:txBody>
      </p:sp>
      <p:sp>
        <p:nvSpPr>
          <p:cNvPr id="4" name="Rounded Rectangle 3"/>
          <p:cNvSpPr/>
          <p:nvPr/>
        </p:nvSpPr>
        <p:spPr bwMode="auto">
          <a:xfrm>
            <a:off x="147299" y="1347018"/>
            <a:ext cx="11825626" cy="4977581"/>
          </a:xfrm>
          <a:prstGeom prst="roundRect">
            <a:avLst>
              <a:gd name="adj" fmla="val 1088"/>
            </a:avLst>
          </a:prstGeom>
          <a:solidFill>
            <a:schemeClr val="bg1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schemeClr val="accent6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272525">
                  <a:lumMod val="75000"/>
                  <a:lumOff val="25000"/>
                </a:srgbClr>
              </a:solidFill>
              <a:effectLst/>
              <a:uLnTx/>
              <a:uFillTx/>
              <a:latin typeface="Calibri Regular" charset="0"/>
              <a:ea typeface="Calibri Regular" charset="0"/>
              <a:cs typeface="Calibri Regular" charset="0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732B8AA5-E453-4543-916C-A4833F7CA825}"/>
              </a:ext>
            </a:extLst>
          </p:cNvPr>
          <p:cNvSpPr/>
          <p:nvPr/>
        </p:nvSpPr>
        <p:spPr>
          <a:xfrm>
            <a:off x="8662803" y="1744780"/>
            <a:ext cx="3108960" cy="457200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Why Do I Care?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C11119D-1C2E-46BC-B0BF-91F0AF609CAD}"/>
              </a:ext>
            </a:extLst>
          </p:cNvPr>
          <p:cNvSpPr/>
          <p:nvPr/>
        </p:nvSpPr>
        <p:spPr>
          <a:xfrm>
            <a:off x="8662803" y="2488584"/>
            <a:ext cx="3108960" cy="2743200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best software/hardware business have a ratio that is 2 or higher</a:t>
            </a: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gher ratios imply faster growth potential – and less capital to do so </a:t>
            </a: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wer ratios imply less efficiency in acquiring high-value customers – and will likely need more capital to fuel growth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A98299F7-EA57-40C8-8403-41514CE00350}"/>
              </a:ext>
            </a:extLst>
          </p:cNvPr>
          <p:cNvSpPr/>
          <p:nvPr/>
        </p:nvSpPr>
        <p:spPr>
          <a:xfrm>
            <a:off x="450263" y="1744780"/>
            <a:ext cx="3108960" cy="464024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efined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8A8FD42F-D20F-41C9-9849-C14340908D6D}"/>
              </a:ext>
            </a:extLst>
          </p:cNvPr>
          <p:cNvSpPr/>
          <p:nvPr/>
        </p:nvSpPr>
        <p:spPr>
          <a:xfrm>
            <a:off x="4541520" y="1744780"/>
            <a:ext cx="3108960" cy="457200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Calcula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07D6CD1-77D0-4322-8CA4-5EE3CE42DA85}"/>
              </a:ext>
            </a:extLst>
          </p:cNvPr>
          <p:cNvSpPr/>
          <p:nvPr/>
        </p:nvSpPr>
        <p:spPr>
          <a:xfrm>
            <a:off x="450263" y="2488584"/>
            <a:ext cx="3108960" cy="2743200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is is the Lifetime Value of the Customer or User / Customer or User Acquisition Costs. In a SaaS business, this ratio should be a minimum of 3:1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CA4A9F2-76C6-414A-939E-241A6FF4D6BD}"/>
              </a:ext>
            </a:extLst>
          </p:cNvPr>
          <p:cNvSpPr/>
          <p:nvPr/>
        </p:nvSpPr>
        <p:spPr>
          <a:xfrm>
            <a:off x="4541520" y="2488584"/>
            <a:ext cx="3108960" cy="2743200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TV:CAC =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72525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stomer Lifetime Valu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72525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stomer Acquisition Cost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168A059-B3F4-482F-B600-7B44405BF26C}"/>
              </a:ext>
            </a:extLst>
          </p:cNvPr>
          <p:cNvCxnSpPr>
            <a:cxnSpLocks/>
          </p:cNvCxnSpPr>
          <p:nvPr/>
        </p:nvCxnSpPr>
        <p:spPr>
          <a:xfrm>
            <a:off x="4906826" y="4113464"/>
            <a:ext cx="2377440" cy="0"/>
          </a:xfrm>
          <a:prstGeom prst="line">
            <a:avLst/>
          </a:prstGeom>
          <a:ln w="31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84105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count:Margin</a:t>
            </a:r>
          </a:p>
        </p:txBody>
      </p:sp>
      <p:sp>
        <p:nvSpPr>
          <p:cNvPr id="4" name="Rounded Rectangle 3"/>
          <p:cNvSpPr/>
          <p:nvPr/>
        </p:nvSpPr>
        <p:spPr bwMode="auto">
          <a:xfrm>
            <a:off x="147299" y="1347018"/>
            <a:ext cx="11825626" cy="4977581"/>
          </a:xfrm>
          <a:prstGeom prst="roundRect">
            <a:avLst>
              <a:gd name="adj" fmla="val 1088"/>
            </a:avLst>
          </a:prstGeom>
          <a:solidFill>
            <a:schemeClr val="bg1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schemeClr val="accent6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272525">
                  <a:lumMod val="75000"/>
                  <a:lumOff val="25000"/>
                </a:srgbClr>
              </a:solidFill>
              <a:effectLst/>
              <a:uLnTx/>
              <a:uFillTx/>
              <a:latin typeface="Calibri Regular" charset="0"/>
              <a:ea typeface="Calibri Regular" charset="0"/>
              <a:cs typeface="Calibri Regular" charset="0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42BAF1EB-0F9D-4A15-97BE-BD09BB92B592}"/>
              </a:ext>
            </a:extLst>
          </p:cNvPr>
          <p:cNvSpPr/>
          <p:nvPr/>
        </p:nvSpPr>
        <p:spPr>
          <a:xfrm>
            <a:off x="480289" y="1744780"/>
            <a:ext cx="3108960" cy="464024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efined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30976425-FA6B-4BC2-BA72-0933828C2C51}"/>
              </a:ext>
            </a:extLst>
          </p:cNvPr>
          <p:cNvSpPr/>
          <p:nvPr/>
        </p:nvSpPr>
        <p:spPr>
          <a:xfrm>
            <a:off x="4571546" y="1744780"/>
            <a:ext cx="3108960" cy="457200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Calculation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6594CDD9-B241-41E3-BA7A-9DFCAF8D8C21}"/>
              </a:ext>
            </a:extLst>
          </p:cNvPr>
          <p:cNvSpPr/>
          <p:nvPr/>
        </p:nvSpPr>
        <p:spPr>
          <a:xfrm>
            <a:off x="8662803" y="1744780"/>
            <a:ext cx="3108960" cy="457200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Why Do I Care?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BA0CB33-F33D-4006-ADE9-F371EEC91171}"/>
              </a:ext>
            </a:extLst>
          </p:cNvPr>
          <p:cNvSpPr/>
          <p:nvPr/>
        </p:nvSpPr>
        <p:spPr>
          <a:xfrm>
            <a:off x="480289" y="2488584"/>
            <a:ext cx="3108960" cy="2743200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number of discount points given per margin percentage point per product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C8BB667-C095-44CD-AE66-144C03A344A2}"/>
              </a:ext>
            </a:extLst>
          </p:cNvPr>
          <p:cNvSpPr/>
          <p:nvPr/>
        </p:nvSpPr>
        <p:spPr>
          <a:xfrm>
            <a:off x="8662803" y="2488584"/>
            <a:ext cx="3108960" cy="2743200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Discount:Margin matrix will control the product lifecycle to ensure price level optimizati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9D99E1-A90F-4EE5-9FE3-E59E89338375}"/>
              </a:ext>
            </a:extLst>
          </p:cNvPr>
          <p:cNvSpPr/>
          <p:nvPr/>
        </p:nvSpPr>
        <p:spPr>
          <a:xfrm>
            <a:off x="4571546" y="2488584"/>
            <a:ext cx="3108960" cy="2743200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scount:Margin = 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272525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272525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272525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EAE76CB-2414-4D0B-AFFD-60FAABF053EC}"/>
              </a:ext>
            </a:extLst>
          </p:cNvPr>
          <p:cNvCxnSpPr>
            <a:cxnSpLocks/>
          </p:cNvCxnSpPr>
          <p:nvPr/>
        </p:nvCxnSpPr>
        <p:spPr>
          <a:xfrm>
            <a:off x="5670481" y="4040201"/>
            <a:ext cx="874093" cy="0"/>
          </a:xfrm>
          <a:prstGeom prst="line">
            <a:avLst/>
          </a:prstGeom>
          <a:ln w="31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847BB3DF-7D32-4440-838C-E013570C3196}"/>
              </a:ext>
            </a:extLst>
          </p:cNvPr>
          <p:cNvSpPr txBox="1"/>
          <p:nvPr/>
        </p:nvSpPr>
        <p:spPr>
          <a:xfrm>
            <a:off x="5165906" y="3680744"/>
            <a:ext cx="192024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52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scoun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52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rgin</a:t>
            </a:r>
          </a:p>
        </p:txBody>
      </p:sp>
    </p:spTree>
    <p:extLst>
      <p:ext uri="{BB962C8B-B14F-4D97-AF65-F5344CB8AC3E}">
        <p14:creationId xmlns:p14="http://schemas.microsoft.com/office/powerpoint/2010/main" val="15522809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ookings per Head</a:t>
            </a:r>
          </a:p>
        </p:txBody>
      </p:sp>
      <p:sp>
        <p:nvSpPr>
          <p:cNvPr id="4" name="Rounded Rectangle 3"/>
          <p:cNvSpPr/>
          <p:nvPr/>
        </p:nvSpPr>
        <p:spPr bwMode="auto">
          <a:xfrm>
            <a:off x="147299" y="1347018"/>
            <a:ext cx="11825626" cy="4977581"/>
          </a:xfrm>
          <a:prstGeom prst="roundRect">
            <a:avLst>
              <a:gd name="adj" fmla="val 1088"/>
            </a:avLst>
          </a:prstGeom>
          <a:solidFill>
            <a:schemeClr val="bg1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schemeClr val="accent6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272525">
                  <a:lumMod val="75000"/>
                  <a:lumOff val="25000"/>
                </a:srgbClr>
              </a:solidFill>
              <a:effectLst/>
              <a:uLnTx/>
              <a:uFillTx/>
              <a:latin typeface="Calibri Regular" charset="0"/>
              <a:ea typeface="Calibri Regular" charset="0"/>
              <a:cs typeface="Calibri Regular" charset="0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81F33405-09FC-460D-AFE4-0EBAF3E4E667}"/>
              </a:ext>
            </a:extLst>
          </p:cNvPr>
          <p:cNvSpPr/>
          <p:nvPr/>
        </p:nvSpPr>
        <p:spPr>
          <a:xfrm>
            <a:off x="480289" y="1801930"/>
            <a:ext cx="3108960" cy="464024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efined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FAB8BF02-EBF5-480A-AC04-32A005E59024}"/>
              </a:ext>
            </a:extLst>
          </p:cNvPr>
          <p:cNvSpPr/>
          <p:nvPr/>
        </p:nvSpPr>
        <p:spPr>
          <a:xfrm>
            <a:off x="4571546" y="1801930"/>
            <a:ext cx="3108960" cy="457200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Calculation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B335109B-B5F7-43A9-A20C-10C2534FCB4A}"/>
              </a:ext>
            </a:extLst>
          </p:cNvPr>
          <p:cNvSpPr/>
          <p:nvPr/>
        </p:nvSpPr>
        <p:spPr>
          <a:xfrm>
            <a:off x="8662803" y="1801930"/>
            <a:ext cx="3108960" cy="457200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Why Do I Care?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5825CE2-128B-4AD5-902A-148BFC06E827}"/>
              </a:ext>
            </a:extLst>
          </p:cNvPr>
          <p:cNvSpPr/>
          <p:nvPr/>
        </p:nvSpPr>
        <p:spPr>
          <a:xfrm>
            <a:off x="480289" y="2545734"/>
            <a:ext cx="3108960" cy="2743200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bookings the company/division/channel is achieving against the weighted average headcount. 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2F25D2E-A7C6-4BB0-8F93-25F1698619E7}"/>
              </a:ext>
            </a:extLst>
          </p:cNvPr>
          <p:cNvSpPr/>
          <p:nvPr/>
        </p:nvSpPr>
        <p:spPr>
          <a:xfrm>
            <a:off x="8662803" y="2545734"/>
            <a:ext cx="3108960" cy="2743200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is will provide visibility to rep productivity &amp; effectiveness over tim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E600D18-F4A2-4DDB-BE25-0854DE6DDEDB}"/>
              </a:ext>
            </a:extLst>
          </p:cNvPr>
          <p:cNvSpPr/>
          <p:nvPr/>
        </p:nvSpPr>
        <p:spPr>
          <a:xfrm>
            <a:off x="4571546" y="2545734"/>
            <a:ext cx="3108960" cy="2743200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ookings per Head =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272525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tal booking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272525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vg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Headcount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590E1AE-D18A-4553-A9B5-CEBD0EFD6E46}"/>
              </a:ext>
            </a:extLst>
          </p:cNvPr>
          <p:cNvCxnSpPr>
            <a:cxnSpLocks/>
          </p:cNvCxnSpPr>
          <p:nvPr/>
        </p:nvCxnSpPr>
        <p:spPr>
          <a:xfrm>
            <a:off x="5303955" y="4164899"/>
            <a:ext cx="1623823" cy="0"/>
          </a:xfrm>
          <a:prstGeom prst="line">
            <a:avLst/>
          </a:prstGeom>
          <a:ln w="31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639402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gic Number</a:t>
            </a:r>
          </a:p>
        </p:txBody>
      </p:sp>
      <p:sp>
        <p:nvSpPr>
          <p:cNvPr id="4" name="Rounded Rectangle 3"/>
          <p:cNvSpPr/>
          <p:nvPr/>
        </p:nvSpPr>
        <p:spPr bwMode="auto">
          <a:xfrm>
            <a:off x="147299" y="1347018"/>
            <a:ext cx="11825626" cy="4977581"/>
          </a:xfrm>
          <a:prstGeom prst="roundRect">
            <a:avLst>
              <a:gd name="adj" fmla="val 1088"/>
            </a:avLst>
          </a:prstGeom>
          <a:solidFill>
            <a:schemeClr val="bg1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schemeClr val="accent6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272525">
                  <a:lumMod val="75000"/>
                  <a:lumOff val="25000"/>
                </a:srgbClr>
              </a:solidFill>
              <a:effectLst/>
              <a:uLnTx/>
              <a:uFillTx/>
              <a:latin typeface="Calibri Regular" charset="0"/>
              <a:ea typeface="Calibri Regular" charset="0"/>
              <a:cs typeface="Calibri Regular" charset="0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A8A5183A-DA21-46D2-9FCC-582CE01B55B8}"/>
              </a:ext>
            </a:extLst>
          </p:cNvPr>
          <p:cNvSpPr/>
          <p:nvPr/>
        </p:nvSpPr>
        <p:spPr>
          <a:xfrm>
            <a:off x="480289" y="1744780"/>
            <a:ext cx="3108960" cy="464024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efined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67BD678-2024-420D-9F4E-B31EECF102D8}"/>
              </a:ext>
            </a:extLst>
          </p:cNvPr>
          <p:cNvSpPr/>
          <p:nvPr/>
        </p:nvSpPr>
        <p:spPr>
          <a:xfrm>
            <a:off x="4571546" y="1744780"/>
            <a:ext cx="3108960" cy="457200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Calculation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66F2A408-E80A-4443-B0E4-33A3C699BA7F}"/>
              </a:ext>
            </a:extLst>
          </p:cNvPr>
          <p:cNvSpPr/>
          <p:nvPr/>
        </p:nvSpPr>
        <p:spPr>
          <a:xfrm>
            <a:off x="8662803" y="1744780"/>
            <a:ext cx="3108960" cy="457200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Why Do I Care?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C46029B-DE92-463F-AB8D-196EF9487F3D}"/>
              </a:ext>
            </a:extLst>
          </p:cNvPr>
          <p:cNvSpPr/>
          <p:nvPr/>
        </p:nvSpPr>
        <p:spPr>
          <a:xfrm>
            <a:off x="480289" y="2488584"/>
            <a:ext cx="3108960" cy="2743200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magic number of 1 means that last quarter's sales &amp; marketing spend will be "earned" back over the next 4 quarters in incremental revenue, and is seen as the desired metric for SaaS businesses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D8BC573-86AB-43C3-AA0E-A47CF4665A2B}"/>
              </a:ext>
            </a:extLst>
          </p:cNvPr>
          <p:cNvSpPr/>
          <p:nvPr/>
        </p:nvSpPr>
        <p:spPr>
          <a:xfrm>
            <a:off x="8662803" y="2488584"/>
            <a:ext cx="3108960" cy="2743200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magic number measures sales efficiency</a:t>
            </a: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is metric answers the question – For every dollar spent in S&amp;M, how much Annual Recurring Revenue am I generating?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2F19A6E-173E-4C6F-8594-9F679F359185}"/>
              </a:ext>
            </a:extLst>
          </p:cNvPr>
          <p:cNvSpPr/>
          <p:nvPr/>
        </p:nvSpPr>
        <p:spPr>
          <a:xfrm>
            <a:off x="4571546" y="2488584"/>
            <a:ext cx="3108960" cy="2743200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7252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gic Number =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272525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272525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272525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7222A53-0C41-4DBD-B967-52845CE81A5F}"/>
              </a:ext>
            </a:extLst>
          </p:cNvPr>
          <p:cNvSpPr txBox="1"/>
          <p:nvPr/>
        </p:nvSpPr>
        <p:spPr>
          <a:xfrm>
            <a:off x="4080397" y="3686829"/>
            <a:ext cx="4091257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7252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Current Q Revenue – Prev. Q Revenue)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27252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X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7252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4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7252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v. Q Sales &amp; Marketing Expens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685954F-BD3D-456D-827C-CAB7A52D914C}"/>
              </a:ext>
            </a:extLst>
          </p:cNvPr>
          <p:cNvCxnSpPr>
            <a:cxnSpLocks/>
          </p:cNvCxnSpPr>
          <p:nvPr/>
        </p:nvCxnSpPr>
        <p:spPr>
          <a:xfrm>
            <a:off x="5303955" y="4002974"/>
            <a:ext cx="1623823" cy="0"/>
          </a:xfrm>
          <a:prstGeom prst="line">
            <a:avLst/>
          </a:prstGeom>
          <a:ln w="31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22478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EP.qdYQueUk_LTaAHU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BI PPT">
  <a:themeElements>
    <a:clrScheme name="SBI New Colors">
      <a:dk1>
        <a:srgbClr val="071E31"/>
      </a:dk1>
      <a:lt1>
        <a:srgbClr val="FFFFFF"/>
      </a:lt1>
      <a:dk2>
        <a:srgbClr val="071E31"/>
      </a:dk2>
      <a:lt2>
        <a:srgbClr val="E7E6E6"/>
      </a:lt2>
      <a:accent1>
        <a:srgbClr val="071E31"/>
      </a:accent1>
      <a:accent2>
        <a:srgbClr val="03327C"/>
      </a:accent2>
      <a:accent3>
        <a:srgbClr val="2391CF"/>
      </a:accent3>
      <a:accent4>
        <a:srgbClr val="7AC3F8"/>
      </a:accent4>
      <a:accent5>
        <a:srgbClr val="880E4F"/>
      </a:accent5>
      <a:accent6>
        <a:srgbClr val="F8B737"/>
      </a:accent6>
      <a:hlink>
        <a:srgbClr val="0563C1"/>
      </a:hlink>
      <a:folHlink>
        <a:srgbClr val="880E4F"/>
      </a:folHlink>
    </a:clrScheme>
    <a:fontScheme name="SBI Font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SBI PPT" id="{8519F7B8-F9D6-413C-90EE-17578C13959F}" vid="{8D5C7C41-2EB4-4D67-A566-A6192B30E978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3</TotalTime>
  <Words>1309</Words>
  <Application>Microsoft Office PowerPoint</Application>
  <PresentationFormat>Widescreen</PresentationFormat>
  <Paragraphs>161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1" baseType="lpstr">
      <vt:lpstr>Arial</vt:lpstr>
      <vt:lpstr>Avenir Next LT Pro</vt:lpstr>
      <vt:lpstr>Calibri</vt:lpstr>
      <vt:lpstr>Calibri Regular</vt:lpstr>
      <vt:lpstr>Century Gothic</vt:lpstr>
      <vt:lpstr>Courier New</vt:lpstr>
      <vt:lpstr>SBI PPT</vt:lpstr>
      <vt:lpstr>think-cell Slide</vt:lpstr>
      <vt:lpstr>Pricing KPIs Tool</vt:lpstr>
      <vt:lpstr>Common Pricing Metrics</vt:lpstr>
      <vt:lpstr>Committed Monthly Recurring Revenue (CMRR)</vt:lpstr>
      <vt:lpstr>Customer Acquisition Cost (CAC)</vt:lpstr>
      <vt:lpstr>Customer Lifetime Value (CLTV)</vt:lpstr>
      <vt:lpstr>CLTV:CAC Ratio</vt:lpstr>
      <vt:lpstr>Discount:Margin</vt:lpstr>
      <vt:lpstr>Bookings per Head</vt:lpstr>
      <vt:lpstr>Magic Number</vt:lpstr>
      <vt:lpstr>Customer Churn</vt:lpstr>
      <vt:lpstr>Pipeline Velocity</vt:lpstr>
      <vt:lpstr>Rep Time to Productivit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icing KPIs Tool</dc:title>
  <dc:creator>Aaron Bean</dc:creator>
  <cp:lastModifiedBy>Aaron Bean</cp:lastModifiedBy>
  <cp:revision>1</cp:revision>
  <dcterms:created xsi:type="dcterms:W3CDTF">2022-12-12T21:39:37Z</dcterms:created>
  <dcterms:modified xsi:type="dcterms:W3CDTF">2022-12-12T21:43:16Z</dcterms:modified>
</cp:coreProperties>
</file>